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100" r:id="rId51"/>
  </p:sldMasterIdLst>
  <p:notesMasterIdLst>
    <p:notesMasterId r:id="rId54"/>
  </p:notesMasterIdLst>
  <p:handoutMasterIdLst>
    <p:handoutMasterId r:id="rId55"/>
  </p:handoutMasterIdLst>
  <p:sldIdLst>
    <p:sldId id="256" r:id="rId52"/>
    <p:sldId id="258" r:id="rId53"/>
  </p:sldIdLst>
  <p:sldSz cx="12198350" cy="6858000"/>
  <p:notesSz cx="6400800" cy="11731625"/>
  <p:custDataLst>
    <p:tags r:id="rId56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90">
          <p15:clr>
            <a:srgbClr val="A4A3A4"/>
          </p15:clr>
        </p15:guide>
        <p15:guide id="2" orient="horz" pos="933">
          <p15:clr>
            <a:srgbClr val="A4A3A4"/>
          </p15:clr>
        </p15:guide>
        <p15:guide id="3" orient="horz" pos="679">
          <p15:clr>
            <a:srgbClr val="A4A3A4"/>
          </p15:clr>
        </p15:guide>
        <p15:guide id="4" orient="horz" pos="264">
          <p15:clr>
            <a:srgbClr val="A4A3A4"/>
          </p15:clr>
        </p15:guide>
        <p15:guide id="5" orient="horz" pos="2412">
          <p15:clr>
            <a:srgbClr val="A4A3A4"/>
          </p15:clr>
        </p15:guide>
        <p15:guide id="6" orient="horz" pos="2329">
          <p15:clr>
            <a:srgbClr val="A4A3A4"/>
          </p15:clr>
        </p15:guide>
        <p15:guide id="7" orient="horz" pos="2498">
          <p15:clr>
            <a:srgbClr val="A4A3A4"/>
          </p15:clr>
        </p15:guide>
        <p15:guide id="8" pos="7380" userDrawn="1">
          <p15:clr>
            <a:srgbClr val="A4A3A4"/>
          </p15:clr>
        </p15:guide>
        <p15:guide id="9" pos="293">
          <p15:clr>
            <a:srgbClr val="A4A3A4"/>
          </p15:clr>
        </p15:guide>
        <p15:guide id="10" pos="5543" userDrawn="1">
          <p15:clr>
            <a:srgbClr val="A4A3A4"/>
          </p15:clr>
        </p15:guide>
        <p15:guide id="11" pos="5717">
          <p15:clr>
            <a:srgbClr val="A4A3A4"/>
          </p15:clr>
        </p15:guide>
        <p15:guide id="12" pos="3842" userDrawn="1">
          <p15:clr>
            <a:srgbClr val="A4A3A4"/>
          </p15:clr>
        </p15:guide>
        <p15:guide id="13" pos="3252">
          <p15:clr>
            <a:srgbClr val="A4A3A4"/>
          </p15:clr>
        </p15:guide>
        <p15:guide id="14" pos="3421">
          <p15:clr>
            <a:srgbClr val="A4A3A4"/>
          </p15:clr>
        </p15:guide>
        <p15:guide id="15" pos="4263">
          <p15:clr>
            <a:srgbClr val="A4A3A4"/>
          </p15:clr>
        </p15:guide>
        <p15:guide id="16" pos="4432">
          <p15:clr>
            <a:srgbClr val="A4A3A4"/>
          </p15:clr>
        </p15:guide>
        <p15:guide id="17" pos="3757">
          <p15:clr>
            <a:srgbClr val="A4A3A4"/>
          </p15:clr>
        </p15:guide>
        <p15:guide id="18" pos="392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696">
          <p15:clr>
            <a:srgbClr val="A4A3A4"/>
          </p15:clr>
        </p15:guide>
        <p15:guide id="2" pos="201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80822"/>
    <a:srgbClr val="CBA021"/>
    <a:srgbClr val="424242"/>
    <a:srgbClr val="164E8C"/>
    <a:srgbClr val="90B3E2"/>
    <a:srgbClr val="FDFDFD"/>
    <a:srgbClr val="919699"/>
    <a:srgbClr val="227CC6"/>
    <a:srgbClr val="697075"/>
    <a:srgbClr val="C6C9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1903C68-52A0-48FE-98FD-9E75A2ACE02D}" v="97" dt="2022-01-12T08:11:29.89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308" autoAdjust="0"/>
    <p:restoredTop sz="86386" autoAdjust="0"/>
  </p:normalViewPr>
  <p:slideViewPr>
    <p:cSldViewPr snapToGrid="0" snapToObjects="1" showGuides="1">
      <p:cViewPr varScale="1">
        <p:scale>
          <a:sx n="98" d="100"/>
          <a:sy n="98" d="100"/>
        </p:scale>
        <p:origin x="852" y="-60"/>
      </p:cViewPr>
      <p:guideLst>
        <p:guide orient="horz" pos="3890"/>
        <p:guide orient="horz" pos="933"/>
        <p:guide orient="horz" pos="679"/>
        <p:guide orient="horz" pos="264"/>
        <p:guide orient="horz" pos="2412"/>
        <p:guide orient="horz" pos="2329"/>
        <p:guide orient="horz" pos="2498"/>
        <p:guide pos="7380"/>
        <p:guide pos="293"/>
        <p:guide pos="5543"/>
        <p:guide pos="5717"/>
        <p:guide pos="3842"/>
        <p:guide pos="3252"/>
        <p:guide pos="3421"/>
        <p:guide pos="4263"/>
        <p:guide pos="4432"/>
        <p:guide pos="3757"/>
        <p:guide pos="3927"/>
      </p:guideLst>
    </p:cSldViewPr>
  </p:slideViewPr>
  <p:outlineViewPr>
    <p:cViewPr>
      <p:scale>
        <a:sx n="33" d="100"/>
        <a:sy n="33" d="100"/>
      </p:scale>
      <p:origin x="0" y="472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11577"/>
    </p:cViewPr>
  </p:sorterViewPr>
  <p:notesViewPr>
    <p:cSldViewPr snapToGrid="0" snapToObjects="1" showGuides="1">
      <p:cViewPr varScale="1">
        <p:scale>
          <a:sx n="97" d="100"/>
          <a:sy n="97" d="100"/>
        </p:scale>
        <p:origin x="-5610" y="-81"/>
      </p:cViewPr>
      <p:guideLst>
        <p:guide orient="horz" pos="3696"/>
        <p:guide pos="20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customXml" Target="../customXml/item26.xml"/><Relationship Id="rId39" Type="http://schemas.openxmlformats.org/officeDocument/2006/relationships/customXml" Target="../customXml/item39.xml"/><Relationship Id="rId21" Type="http://schemas.openxmlformats.org/officeDocument/2006/relationships/customXml" Target="../customXml/item21.xml"/><Relationship Id="rId34" Type="http://schemas.openxmlformats.org/officeDocument/2006/relationships/customXml" Target="../customXml/item34.xml"/><Relationship Id="rId42" Type="http://schemas.openxmlformats.org/officeDocument/2006/relationships/customXml" Target="../customXml/item42.xml"/><Relationship Id="rId47" Type="http://schemas.openxmlformats.org/officeDocument/2006/relationships/customXml" Target="../customXml/item47.xml"/><Relationship Id="rId50" Type="http://schemas.openxmlformats.org/officeDocument/2006/relationships/customXml" Target="../customXml/item50.xml"/><Relationship Id="rId55" Type="http://schemas.openxmlformats.org/officeDocument/2006/relationships/handoutMaster" Target="handoutMasters/handoutMaster1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customXml" Target="../customXml/item29.xml"/><Relationship Id="rId41" Type="http://schemas.openxmlformats.org/officeDocument/2006/relationships/customXml" Target="../customXml/item41.xml"/><Relationship Id="rId54" Type="http://schemas.openxmlformats.org/officeDocument/2006/relationships/notesMaster" Target="notesMasters/notesMaster1.xml"/><Relationship Id="rId62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53" Type="http://schemas.openxmlformats.org/officeDocument/2006/relationships/slide" Target="slides/slide2.xml"/><Relationship Id="rId58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customXml" Target="../customXml/item49.xml"/><Relationship Id="rId57" Type="http://schemas.openxmlformats.org/officeDocument/2006/relationships/presProps" Target="presProps.xml"/><Relationship Id="rId61" Type="http://schemas.microsoft.com/office/2016/11/relationships/changesInfo" Target="changesInfos/changesInfo1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customXml" Target="../customXml/item31.xml"/><Relationship Id="rId44" Type="http://schemas.openxmlformats.org/officeDocument/2006/relationships/customXml" Target="../customXml/item44.xml"/><Relationship Id="rId52" Type="http://schemas.openxmlformats.org/officeDocument/2006/relationships/slide" Target="slides/slide1.xml"/><Relationship Id="rId60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56" Type="http://schemas.openxmlformats.org/officeDocument/2006/relationships/tags" Target="tags/tag1.xml"/><Relationship Id="rId8" Type="http://schemas.openxmlformats.org/officeDocument/2006/relationships/customXml" Target="../customXml/item8.xml"/><Relationship Id="rId51" Type="http://schemas.openxmlformats.org/officeDocument/2006/relationships/slideMaster" Target="slideMasters/slideMaster1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customXml" Target="../customXml/item46.xml"/><Relationship Id="rId5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illmes, Lina (FLE ST&amp;MK)" userId="708272bc-89a6-4ea6-b819-26b24ca4d19e" providerId="ADAL" clId="{EEEB8BF6-1CF0-4FE9-9917-B13E88E04F4B}"/>
    <pc:docChg chg="modMainMaster">
      <pc:chgData name="Willmes, Lina (FLE ST&amp;MK)" userId="708272bc-89a6-4ea6-b819-26b24ca4d19e" providerId="ADAL" clId="{EEEB8BF6-1CF0-4FE9-9917-B13E88E04F4B}" dt="2021-01-20T12:57:51.904" v="19" actId="20577"/>
      <pc:docMkLst>
        <pc:docMk/>
      </pc:docMkLst>
      <pc:sldMasterChg chg="modSldLayout">
        <pc:chgData name="Willmes, Lina (FLE ST&amp;MK)" userId="708272bc-89a6-4ea6-b819-26b24ca4d19e" providerId="ADAL" clId="{EEEB8BF6-1CF0-4FE9-9917-B13E88E04F4B}" dt="2021-01-20T12:57:47.048" v="17" actId="20577"/>
        <pc:sldMasterMkLst>
          <pc:docMk/>
          <pc:sldMasterMk cId="0" sldId="2147484081"/>
        </pc:sldMasterMkLst>
        <pc:sldLayoutChg chg="modSp mod">
          <pc:chgData name="Willmes, Lina (FLE ST&amp;MK)" userId="708272bc-89a6-4ea6-b819-26b24ca4d19e" providerId="ADAL" clId="{EEEB8BF6-1CF0-4FE9-9917-B13E88E04F4B}" dt="2021-01-20T12:56:59.052" v="1" actId="20577"/>
          <pc:sldLayoutMkLst>
            <pc:docMk/>
            <pc:sldMasterMk cId="0" sldId="2147484100"/>
            <pc:sldLayoutMk cId="91303253" sldId="2147484125"/>
          </pc:sldLayoutMkLst>
          <pc:spChg chg="mod">
            <ac:chgData name="Willmes, Lina (FLE ST&amp;MK)" userId="708272bc-89a6-4ea6-b819-26b24ca4d19e" providerId="ADAL" clId="{EEEB8BF6-1CF0-4FE9-9917-B13E88E04F4B}" dt="2021-01-20T12:56:59.052" v="1" actId="20577"/>
            <ac:spMkLst>
              <pc:docMk/>
              <pc:sldMasterMk cId="0" sldId="2147484100"/>
              <pc:sldLayoutMk cId="91303253" sldId="2147484125"/>
              <ac:spMk id="6" creationId="{00000000-0000-0000-0000-000000000000}"/>
            </ac:spMkLst>
          </pc:spChg>
        </pc:sldLayoutChg>
        <pc:sldLayoutChg chg="modSp mod">
          <pc:chgData name="Willmes, Lina (FLE ST&amp;MK)" userId="708272bc-89a6-4ea6-b819-26b24ca4d19e" providerId="ADAL" clId="{EEEB8BF6-1CF0-4FE9-9917-B13E88E04F4B}" dt="2021-01-20T12:57:03.910" v="3" actId="20577"/>
          <pc:sldLayoutMkLst>
            <pc:docMk/>
            <pc:sldMasterMk cId="0" sldId="2147484081"/>
            <pc:sldLayoutMk cId="3834674178" sldId="2147484134"/>
          </pc:sldLayoutMkLst>
          <pc:spChg chg="mod">
            <ac:chgData name="Willmes, Lina (FLE ST&amp;MK)" userId="708272bc-89a6-4ea6-b819-26b24ca4d19e" providerId="ADAL" clId="{EEEB8BF6-1CF0-4FE9-9917-B13E88E04F4B}" dt="2021-01-20T12:57:03.910" v="3" actId="20577"/>
            <ac:spMkLst>
              <pc:docMk/>
              <pc:sldMasterMk cId="0" sldId="2147484081"/>
              <pc:sldLayoutMk cId="3834674178" sldId="2147484134"/>
              <ac:spMk id="11" creationId="{00000000-0000-0000-0000-000000000000}"/>
            </ac:spMkLst>
          </pc:spChg>
        </pc:sldLayoutChg>
        <pc:sldLayoutChg chg="modSp mod">
          <pc:chgData name="Willmes, Lina (FLE ST&amp;MK)" userId="708272bc-89a6-4ea6-b819-26b24ca4d19e" providerId="ADAL" clId="{EEEB8BF6-1CF0-4FE9-9917-B13E88E04F4B}" dt="2021-01-20T12:57:08.234" v="5" actId="20577"/>
          <pc:sldLayoutMkLst>
            <pc:docMk/>
            <pc:sldMasterMk cId="0" sldId="2147484081"/>
            <pc:sldLayoutMk cId="1708998347" sldId="2147484144"/>
          </pc:sldLayoutMkLst>
          <pc:spChg chg="mod">
            <ac:chgData name="Willmes, Lina (FLE ST&amp;MK)" userId="708272bc-89a6-4ea6-b819-26b24ca4d19e" providerId="ADAL" clId="{EEEB8BF6-1CF0-4FE9-9917-B13E88E04F4B}" dt="2021-01-20T12:57:08.234" v="5" actId="20577"/>
            <ac:spMkLst>
              <pc:docMk/>
              <pc:sldMasterMk cId="0" sldId="2147484081"/>
              <pc:sldLayoutMk cId="1708998347" sldId="2147484144"/>
              <ac:spMk id="7" creationId="{00000000-0000-0000-0000-000000000000}"/>
            </ac:spMkLst>
          </pc:spChg>
        </pc:sldLayoutChg>
        <pc:sldLayoutChg chg="modSp mod">
          <pc:chgData name="Willmes, Lina (FLE ST&amp;MK)" userId="708272bc-89a6-4ea6-b819-26b24ca4d19e" providerId="ADAL" clId="{EEEB8BF6-1CF0-4FE9-9917-B13E88E04F4B}" dt="2021-01-20T12:57:38.704" v="13" actId="20577"/>
          <pc:sldLayoutMkLst>
            <pc:docMk/>
            <pc:sldMasterMk cId="0" sldId="2147484081"/>
            <pc:sldLayoutMk cId="2023546553" sldId="2147484145"/>
          </pc:sldLayoutMkLst>
          <pc:spChg chg="mod">
            <ac:chgData name="Willmes, Lina (FLE ST&amp;MK)" userId="708272bc-89a6-4ea6-b819-26b24ca4d19e" providerId="ADAL" clId="{EEEB8BF6-1CF0-4FE9-9917-B13E88E04F4B}" dt="2021-01-20T12:57:38.704" v="13" actId="20577"/>
            <ac:spMkLst>
              <pc:docMk/>
              <pc:sldMasterMk cId="0" sldId="2147484081"/>
              <pc:sldLayoutMk cId="2023546553" sldId="2147484145"/>
              <ac:spMk id="13" creationId="{E6179064-3B91-4BB2-8840-B888F523E11F}"/>
            </ac:spMkLst>
          </pc:spChg>
        </pc:sldLayoutChg>
        <pc:sldLayoutChg chg="modSp mod">
          <pc:chgData name="Willmes, Lina (FLE ST&amp;MK)" userId="708272bc-89a6-4ea6-b819-26b24ca4d19e" providerId="ADAL" clId="{EEEB8BF6-1CF0-4FE9-9917-B13E88E04F4B}" dt="2021-01-20T12:57:43.237" v="15" actId="20577"/>
          <pc:sldLayoutMkLst>
            <pc:docMk/>
            <pc:sldMasterMk cId="0" sldId="2147484081"/>
            <pc:sldLayoutMk cId="2183149349" sldId="2147484146"/>
          </pc:sldLayoutMkLst>
          <pc:spChg chg="mod">
            <ac:chgData name="Willmes, Lina (FLE ST&amp;MK)" userId="708272bc-89a6-4ea6-b819-26b24ca4d19e" providerId="ADAL" clId="{EEEB8BF6-1CF0-4FE9-9917-B13E88E04F4B}" dt="2021-01-20T12:57:43.237" v="15" actId="20577"/>
            <ac:spMkLst>
              <pc:docMk/>
              <pc:sldMasterMk cId="0" sldId="2147484081"/>
              <pc:sldLayoutMk cId="2183149349" sldId="2147484146"/>
              <ac:spMk id="15" creationId="{5776FAD7-B775-4E51-88DE-68688990A30A}"/>
            </ac:spMkLst>
          </pc:spChg>
        </pc:sldLayoutChg>
        <pc:sldLayoutChg chg="modSp mod">
          <pc:chgData name="Willmes, Lina (FLE ST&amp;MK)" userId="708272bc-89a6-4ea6-b819-26b24ca4d19e" providerId="ADAL" clId="{EEEB8BF6-1CF0-4FE9-9917-B13E88E04F4B}" dt="2021-01-20T12:57:47.048" v="17" actId="20577"/>
          <pc:sldLayoutMkLst>
            <pc:docMk/>
            <pc:sldMasterMk cId="0" sldId="2147484100"/>
            <pc:sldLayoutMk cId="2300627416" sldId="2147484150"/>
          </pc:sldLayoutMkLst>
          <pc:spChg chg="mod">
            <ac:chgData name="Willmes, Lina (FLE ST&amp;MK)" userId="708272bc-89a6-4ea6-b819-26b24ca4d19e" providerId="ADAL" clId="{EEEB8BF6-1CF0-4FE9-9917-B13E88E04F4B}" dt="2021-01-20T12:57:47.048" v="17" actId="20577"/>
            <ac:spMkLst>
              <pc:docMk/>
              <pc:sldMasterMk cId="0" sldId="2147484100"/>
              <pc:sldLayoutMk cId="2300627416" sldId="2147484150"/>
              <ac:spMk id="6" creationId="{BED4CA89-CBB3-44C9-9463-B621BDD3168F}"/>
            </ac:spMkLst>
          </pc:spChg>
        </pc:sldLayoutChg>
        <pc:sldLayoutChg chg="modSp mod">
          <pc:chgData name="Willmes, Lina (FLE ST&amp;MK)" userId="708272bc-89a6-4ea6-b819-26b24ca4d19e" providerId="ADAL" clId="{EEEB8BF6-1CF0-4FE9-9917-B13E88E04F4B}" dt="2021-01-20T12:57:13.338" v="7" actId="20577"/>
          <pc:sldLayoutMkLst>
            <pc:docMk/>
            <pc:sldMasterMk cId="0" sldId="2147484081"/>
            <pc:sldLayoutMk cId="2799673841" sldId="2147484152"/>
          </pc:sldLayoutMkLst>
          <pc:spChg chg="mod">
            <ac:chgData name="Willmes, Lina (FLE ST&amp;MK)" userId="708272bc-89a6-4ea6-b819-26b24ca4d19e" providerId="ADAL" clId="{EEEB8BF6-1CF0-4FE9-9917-B13E88E04F4B}" dt="2021-01-20T12:57:13.338" v="7" actId="20577"/>
            <ac:spMkLst>
              <pc:docMk/>
              <pc:sldMasterMk cId="0" sldId="2147484081"/>
              <pc:sldLayoutMk cId="2799673841" sldId="2147484152"/>
              <ac:spMk id="11" creationId="{61C31A52-D422-4EAA-B4D0-50D1AFA2471D}"/>
            </ac:spMkLst>
          </pc:spChg>
        </pc:sldLayoutChg>
        <pc:sldLayoutChg chg="modSp mod">
          <pc:chgData name="Willmes, Lina (FLE ST&amp;MK)" userId="708272bc-89a6-4ea6-b819-26b24ca4d19e" providerId="ADAL" clId="{EEEB8BF6-1CF0-4FE9-9917-B13E88E04F4B}" dt="2021-01-20T12:57:28.571" v="9" actId="20577"/>
          <pc:sldLayoutMkLst>
            <pc:docMk/>
            <pc:sldMasterMk cId="0" sldId="2147484100"/>
            <pc:sldLayoutMk cId="3788247591" sldId="2147484153"/>
          </pc:sldLayoutMkLst>
          <pc:spChg chg="mod">
            <ac:chgData name="Willmes, Lina (FLE ST&amp;MK)" userId="708272bc-89a6-4ea6-b819-26b24ca4d19e" providerId="ADAL" clId="{EEEB8BF6-1CF0-4FE9-9917-B13E88E04F4B}" dt="2021-01-20T12:57:28.571" v="9" actId="20577"/>
            <ac:spMkLst>
              <pc:docMk/>
              <pc:sldMasterMk cId="0" sldId="2147484100"/>
              <pc:sldLayoutMk cId="3788247591" sldId="2147484153"/>
              <ac:spMk id="17" creationId="{733C86F4-95AF-4452-A21E-E29E3A0E7F8C}"/>
            </ac:spMkLst>
          </pc:spChg>
        </pc:sldLayoutChg>
        <pc:sldLayoutChg chg="modSp mod">
          <pc:chgData name="Willmes, Lina (FLE ST&amp;MK)" userId="708272bc-89a6-4ea6-b819-26b24ca4d19e" providerId="ADAL" clId="{EEEB8BF6-1CF0-4FE9-9917-B13E88E04F4B}" dt="2021-01-20T12:57:34.439" v="11" actId="20577"/>
          <pc:sldLayoutMkLst>
            <pc:docMk/>
            <pc:sldMasterMk cId="0" sldId="2147484100"/>
            <pc:sldLayoutMk cId="2753410502" sldId="2147484154"/>
          </pc:sldLayoutMkLst>
          <pc:spChg chg="mod">
            <ac:chgData name="Willmes, Lina (FLE ST&amp;MK)" userId="708272bc-89a6-4ea6-b819-26b24ca4d19e" providerId="ADAL" clId="{EEEB8BF6-1CF0-4FE9-9917-B13E88E04F4B}" dt="2021-01-20T12:57:34.439" v="11" actId="20577"/>
            <ac:spMkLst>
              <pc:docMk/>
              <pc:sldMasterMk cId="0" sldId="2147484100"/>
              <pc:sldLayoutMk cId="2753410502" sldId="2147484154"/>
              <ac:spMk id="17" creationId="{4B76214E-F9B6-435B-A9B6-7A63CE5699ED}"/>
            </ac:spMkLst>
          </pc:spChg>
        </pc:sldLayoutChg>
      </pc:sldMasterChg>
      <pc:sldMasterChg chg="modSp mod">
        <pc:chgData name="Willmes, Lina (FLE ST&amp;MK)" userId="708272bc-89a6-4ea6-b819-26b24ca4d19e" providerId="ADAL" clId="{EEEB8BF6-1CF0-4FE9-9917-B13E88E04F4B}" dt="2021-01-20T12:57:51.904" v="19" actId="20577"/>
        <pc:sldMasterMkLst>
          <pc:docMk/>
          <pc:sldMasterMk cId="0" sldId="2147484100"/>
        </pc:sldMasterMkLst>
        <pc:spChg chg="mod">
          <ac:chgData name="Willmes, Lina (FLE ST&amp;MK)" userId="708272bc-89a6-4ea6-b819-26b24ca4d19e" providerId="ADAL" clId="{EEEB8BF6-1CF0-4FE9-9917-B13E88E04F4B}" dt="2021-01-20T12:57:51.904" v="19" actId="20577"/>
          <ac:spMkLst>
            <pc:docMk/>
            <pc:sldMasterMk cId="0" sldId="2147484100"/>
            <ac:spMk id="71" creationId="{00000000-0000-0000-0000-000000000000}"/>
          </ac:spMkLst>
        </pc:spChg>
      </pc:sldMasterChg>
    </pc:docChg>
  </pc:docChgLst>
  <pc:docChgLst>
    <pc:chgData name="Schwering, Benedikt" userId="c2c3cde8-3e01-49e2-b34b-d8b2966c5f86" providerId="ADAL" clId="{31903C68-52A0-48FE-98FD-9E75A2ACE02D}"/>
    <pc:docChg chg="undo custSel delSld modSld modMainMaster">
      <pc:chgData name="Schwering, Benedikt" userId="c2c3cde8-3e01-49e2-b34b-d8b2966c5f86" providerId="ADAL" clId="{31903C68-52A0-48FE-98FD-9E75A2ACE02D}" dt="2022-01-12T08:09:46.309" v="441" actId="6549"/>
      <pc:docMkLst>
        <pc:docMk/>
      </pc:docMkLst>
      <pc:sldChg chg="modSp mod">
        <pc:chgData name="Schwering, Benedikt" userId="c2c3cde8-3e01-49e2-b34b-d8b2966c5f86" providerId="ADAL" clId="{31903C68-52A0-48FE-98FD-9E75A2ACE02D}" dt="2022-01-11T12:36:50.490" v="280" actId="18131"/>
        <pc:sldMkLst>
          <pc:docMk/>
          <pc:sldMk cId="0" sldId="256"/>
        </pc:sldMkLst>
        <pc:picChg chg="mod modCrop">
          <ac:chgData name="Schwering, Benedikt" userId="c2c3cde8-3e01-49e2-b34b-d8b2966c5f86" providerId="ADAL" clId="{31903C68-52A0-48FE-98FD-9E75A2ACE02D}" dt="2022-01-11T12:36:50.490" v="280" actId="18131"/>
          <ac:picMkLst>
            <pc:docMk/>
            <pc:sldMk cId="0" sldId="256"/>
            <ac:picMk id="3" creationId="{00000000-0000-0000-0000-000000000000}"/>
          </ac:picMkLst>
        </pc:picChg>
      </pc:sldChg>
      <pc:sldChg chg="addSp modSp mod">
        <pc:chgData name="Schwering, Benedikt" userId="c2c3cde8-3e01-49e2-b34b-d8b2966c5f86" providerId="ADAL" clId="{31903C68-52A0-48FE-98FD-9E75A2ACE02D}" dt="2022-01-11T14:39:00.774" v="364" actId="20577"/>
        <pc:sldMkLst>
          <pc:docMk/>
          <pc:sldMk cId="0" sldId="258"/>
        </pc:sldMkLst>
        <pc:spChg chg="add mod">
          <ac:chgData name="Schwering, Benedikt" userId="c2c3cde8-3e01-49e2-b34b-d8b2966c5f86" providerId="ADAL" clId="{31903C68-52A0-48FE-98FD-9E75A2ACE02D}" dt="2022-01-11T14:07:18.369" v="351" actId="20577"/>
          <ac:spMkLst>
            <pc:docMk/>
            <pc:sldMk cId="0" sldId="258"/>
            <ac:spMk id="17" creationId="{8741943D-9825-4C51-9103-728AA6E7FDC1}"/>
          </ac:spMkLst>
        </pc:spChg>
        <pc:spChg chg="mod">
          <ac:chgData name="Schwering, Benedikt" userId="c2c3cde8-3e01-49e2-b34b-d8b2966c5f86" providerId="ADAL" clId="{31903C68-52A0-48FE-98FD-9E75A2ACE02D}" dt="2022-01-11T14:07:14.093" v="340" actId="1038"/>
          <ac:spMkLst>
            <pc:docMk/>
            <pc:sldMk cId="0" sldId="258"/>
            <ac:spMk id="30" creationId="{EDFFAB80-3583-41AA-BBB5-EF1448ADFF79}"/>
          </ac:spMkLst>
        </pc:spChg>
        <pc:spChg chg="mod">
          <ac:chgData name="Schwering, Benedikt" userId="c2c3cde8-3e01-49e2-b34b-d8b2966c5f86" providerId="ADAL" clId="{31903C68-52A0-48FE-98FD-9E75A2ACE02D}" dt="2022-01-11T14:07:14.093" v="340" actId="1038"/>
          <ac:spMkLst>
            <pc:docMk/>
            <pc:sldMk cId="0" sldId="258"/>
            <ac:spMk id="40" creationId="{2F45B3BE-0F8F-4C17-8FEF-97D01C56583C}"/>
          </ac:spMkLst>
        </pc:spChg>
        <pc:spChg chg="mod">
          <ac:chgData name="Schwering, Benedikt" userId="c2c3cde8-3e01-49e2-b34b-d8b2966c5f86" providerId="ADAL" clId="{31903C68-52A0-48FE-98FD-9E75A2ACE02D}" dt="2022-01-11T14:39:00.774" v="364" actId="20577"/>
          <ac:spMkLst>
            <pc:docMk/>
            <pc:sldMk cId="0" sldId="258"/>
            <ac:spMk id="8195" creationId="{00000000-0000-0000-0000-000000000000}"/>
          </ac:spMkLst>
        </pc:spChg>
        <pc:picChg chg="add mod">
          <ac:chgData name="Schwering, Benedikt" userId="c2c3cde8-3e01-49e2-b34b-d8b2966c5f86" providerId="ADAL" clId="{31903C68-52A0-48FE-98FD-9E75A2ACE02D}" dt="2022-01-11T14:08:04.076" v="362" actId="1076"/>
          <ac:picMkLst>
            <pc:docMk/>
            <pc:sldMk cId="0" sldId="258"/>
            <ac:picMk id="4" creationId="{2D225B53-6940-4C13-8942-081C7D06342C}"/>
          </ac:picMkLst>
        </pc:picChg>
        <pc:picChg chg="mod">
          <ac:chgData name="Schwering, Benedikt" userId="c2c3cde8-3e01-49e2-b34b-d8b2966c5f86" providerId="ADAL" clId="{31903C68-52A0-48FE-98FD-9E75A2ACE02D}" dt="2022-01-11T14:07:14.093" v="340" actId="1038"/>
          <ac:picMkLst>
            <pc:docMk/>
            <pc:sldMk cId="0" sldId="258"/>
            <ac:picMk id="31" creationId="{C44123F8-DA6E-4F91-AD18-2F4868FD5B16}"/>
          </ac:picMkLst>
        </pc:picChg>
        <pc:picChg chg="mod">
          <ac:chgData name="Schwering, Benedikt" userId="c2c3cde8-3e01-49e2-b34b-d8b2966c5f86" providerId="ADAL" clId="{31903C68-52A0-48FE-98FD-9E75A2ACE02D}" dt="2022-01-11T14:07:14.093" v="340" actId="1038"/>
          <ac:picMkLst>
            <pc:docMk/>
            <pc:sldMk cId="0" sldId="258"/>
            <ac:picMk id="41" creationId="{A20A4931-52FF-45CD-95F0-D6B693506C64}"/>
          </ac:picMkLst>
        </pc:picChg>
      </pc:sldChg>
      <pc:sldChg chg="addSp modSp mod">
        <pc:chgData name="Schwering, Benedikt" userId="c2c3cde8-3e01-49e2-b34b-d8b2966c5f86" providerId="ADAL" clId="{31903C68-52A0-48FE-98FD-9E75A2ACE02D}" dt="2022-01-12T08:07:00.581" v="435" actId="1076"/>
        <pc:sldMkLst>
          <pc:docMk/>
          <pc:sldMk cId="266297835" sldId="326"/>
        </pc:sldMkLst>
        <pc:spChg chg="mod">
          <ac:chgData name="Schwering, Benedikt" userId="c2c3cde8-3e01-49e2-b34b-d8b2966c5f86" providerId="ADAL" clId="{31903C68-52A0-48FE-98FD-9E75A2ACE02D}" dt="2022-01-12T08:04:21.758" v="422" actId="20577"/>
          <ac:spMkLst>
            <pc:docMk/>
            <pc:sldMk cId="266297835" sldId="326"/>
            <ac:spMk id="2" creationId="{9A7090C3-C1A8-4763-9B86-C5FCEA835A22}"/>
          </ac:spMkLst>
        </pc:spChg>
        <pc:picChg chg="add mod">
          <ac:chgData name="Schwering, Benedikt" userId="c2c3cde8-3e01-49e2-b34b-d8b2966c5f86" providerId="ADAL" clId="{31903C68-52A0-48FE-98FD-9E75A2ACE02D}" dt="2022-01-12T08:07:00.581" v="435" actId="1076"/>
          <ac:picMkLst>
            <pc:docMk/>
            <pc:sldMk cId="266297835" sldId="326"/>
            <ac:picMk id="5" creationId="{C73C6270-C149-493C-B0EA-1224C5741892}"/>
          </ac:picMkLst>
        </pc:picChg>
        <pc:picChg chg="mod">
          <ac:chgData name="Schwering, Benedikt" userId="c2c3cde8-3e01-49e2-b34b-d8b2966c5f86" providerId="ADAL" clId="{31903C68-52A0-48FE-98FD-9E75A2ACE02D}" dt="2022-01-12T08:04:00.444" v="411" actId="1076"/>
          <ac:picMkLst>
            <pc:docMk/>
            <pc:sldMk cId="266297835" sldId="326"/>
            <ac:picMk id="6" creationId="{F437AFC9-6CD8-4A2E-BC5F-34AC7B423D5E}"/>
          </ac:picMkLst>
        </pc:picChg>
        <pc:picChg chg="add mod">
          <ac:chgData name="Schwering, Benedikt" userId="c2c3cde8-3e01-49e2-b34b-d8b2966c5f86" providerId="ADAL" clId="{31903C68-52A0-48FE-98FD-9E75A2ACE02D}" dt="2022-01-12T08:06:34.701" v="432" actId="1076"/>
          <ac:picMkLst>
            <pc:docMk/>
            <pc:sldMk cId="266297835" sldId="326"/>
            <ac:picMk id="7" creationId="{3AAAE4FF-C66F-47BB-8C11-2090685E7AF8}"/>
          </ac:picMkLst>
        </pc:picChg>
        <pc:picChg chg="add mod">
          <ac:chgData name="Schwering, Benedikt" userId="c2c3cde8-3e01-49e2-b34b-d8b2966c5f86" providerId="ADAL" clId="{31903C68-52A0-48FE-98FD-9E75A2ACE02D}" dt="2022-01-12T08:06:29.920" v="431" actId="1038"/>
          <ac:picMkLst>
            <pc:docMk/>
            <pc:sldMk cId="266297835" sldId="326"/>
            <ac:picMk id="8" creationId="{8D28D92A-F4F8-4D24-9EB0-A9702F1E11F3}"/>
          </ac:picMkLst>
        </pc:picChg>
        <pc:picChg chg="add mod">
          <ac:chgData name="Schwering, Benedikt" userId="c2c3cde8-3e01-49e2-b34b-d8b2966c5f86" providerId="ADAL" clId="{31903C68-52A0-48FE-98FD-9E75A2ACE02D}" dt="2022-01-12T08:06:55.454" v="434" actId="1076"/>
          <ac:picMkLst>
            <pc:docMk/>
            <pc:sldMk cId="266297835" sldId="326"/>
            <ac:picMk id="9" creationId="{17EB6548-158A-4011-8F9F-96BFA68F2236}"/>
          </ac:picMkLst>
        </pc:picChg>
        <pc:picChg chg="mod">
          <ac:chgData name="Schwering, Benedikt" userId="c2c3cde8-3e01-49e2-b34b-d8b2966c5f86" providerId="ADAL" clId="{31903C68-52A0-48FE-98FD-9E75A2ACE02D}" dt="2022-01-12T08:02:41.439" v="392" actId="1038"/>
          <ac:picMkLst>
            <pc:docMk/>
            <pc:sldMk cId="266297835" sldId="326"/>
            <ac:picMk id="16" creationId="{ED72D2AB-D99B-4D9E-85C8-33F57709AEAF}"/>
          </ac:picMkLst>
        </pc:picChg>
      </pc:sldChg>
      <pc:sldChg chg="addSp delSp modSp mod">
        <pc:chgData name="Schwering, Benedikt" userId="c2c3cde8-3e01-49e2-b34b-d8b2966c5f86" providerId="ADAL" clId="{31903C68-52A0-48FE-98FD-9E75A2ACE02D}" dt="2022-01-12T08:03:19.071" v="400" actId="1076"/>
        <pc:sldMkLst>
          <pc:docMk/>
          <pc:sldMk cId="3568795242" sldId="328"/>
        </pc:sldMkLst>
        <pc:picChg chg="del">
          <ac:chgData name="Schwering, Benedikt" userId="c2c3cde8-3e01-49e2-b34b-d8b2966c5f86" providerId="ADAL" clId="{31903C68-52A0-48FE-98FD-9E75A2ACE02D}" dt="2022-01-12T08:03:07.097" v="395" actId="478"/>
          <ac:picMkLst>
            <pc:docMk/>
            <pc:sldMk cId="3568795242" sldId="328"/>
            <ac:picMk id="6" creationId="{FA481FBD-8D5A-4073-A38C-F4C38EC1FCA8}"/>
          </ac:picMkLst>
        </pc:picChg>
        <pc:picChg chg="add mod">
          <ac:chgData name="Schwering, Benedikt" userId="c2c3cde8-3e01-49e2-b34b-d8b2966c5f86" providerId="ADAL" clId="{31903C68-52A0-48FE-98FD-9E75A2ACE02D}" dt="2022-01-12T08:03:19.071" v="400" actId="1076"/>
          <ac:picMkLst>
            <pc:docMk/>
            <pc:sldMk cId="3568795242" sldId="328"/>
            <ac:picMk id="18" creationId="{D4BB3D1B-920E-4AAD-8D9F-5B9E566E89A6}"/>
          </ac:picMkLst>
        </pc:picChg>
      </pc:sldChg>
      <pc:sldChg chg="delSp modSp mod">
        <pc:chgData name="Schwering, Benedikt" userId="c2c3cde8-3e01-49e2-b34b-d8b2966c5f86" providerId="ADAL" clId="{31903C68-52A0-48FE-98FD-9E75A2ACE02D}" dt="2022-01-11T12:12:54.196" v="267" actId="14100"/>
        <pc:sldMkLst>
          <pc:docMk/>
          <pc:sldMk cId="1513653071" sldId="332"/>
        </pc:sldMkLst>
        <pc:spChg chg="mod">
          <ac:chgData name="Schwering, Benedikt" userId="c2c3cde8-3e01-49e2-b34b-d8b2966c5f86" providerId="ADAL" clId="{31903C68-52A0-48FE-98FD-9E75A2ACE02D}" dt="2022-01-11T12:10:12.024" v="242" actId="1076"/>
          <ac:spMkLst>
            <pc:docMk/>
            <pc:sldMk cId="1513653071" sldId="332"/>
            <ac:spMk id="8" creationId="{A08979E7-5819-472C-A081-06E84DC8B388}"/>
          </ac:spMkLst>
        </pc:spChg>
        <pc:spChg chg="del mod">
          <ac:chgData name="Schwering, Benedikt" userId="c2c3cde8-3e01-49e2-b34b-d8b2966c5f86" providerId="ADAL" clId="{31903C68-52A0-48FE-98FD-9E75A2ACE02D}" dt="2022-01-11T12:04:10.251" v="108" actId="478"/>
          <ac:spMkLst>
            <pc:docMk/>
            <pc:sldMk cId="1513653071" sldId="332"/>
            <ac:spMk id="11" creationId="{675EE218-135A-4B15-B798-59E73C296C31}"/>
          </ac:spMkLst>
        </pc:spChg>
        <pc:spChg chg="del">
          <ac:chgData name="Schwering, Benedikt" userId="c2c3cde8-3e01-49e2-b34b-d8b2966c5f86" providerId="ADAL" clId="{31903C68-52A0-48FE-98FD-9E75A2ACE02D}" dt="2022-01-11T12:04:12.610" v="109" actId="478"/>
          <ac:spMkLst>
            <pc:docMk/>
            <pc:sldMk cId="1513653071" sldId="332"/>
            <ac:spMk id="12" creationId="{A3E1FC13-B912-4855-88C3-DF6855277252}"/>
          </ac:spMkLst>
        </pc:spChg>
        <pc:spChg chg="mod">
          <ac:chgData name="Schwering, Benedikt" userId="c2c3cde8-3e01-49e2-b34b-d8b2966c5f86" providerId="ADAL" clId="{31903C68-52A0-48FE-98FD-9E75A2ACE02D}" dt="2022-01-11T12:08:04.527" v="220" actId="255"/>
          <ac:spMkLst>
            <pc:docMk/>
            <pc:sldMk cId="1513653071" sldId="332"/>
            <ac:spMk id="14" creationId="{47DE2DF9-1BC3-4CE2-95A2-1F7FFD0777DC}"/>
          </ac:spMkLst>
        </pc:spChg>
        <pc:spChg chg="mod">
          <ac:chgData name="Schwering, Benedikt" userId="c2c3cde8-3e01-49e2-b34b-d8b2966c5f86" providerId="ADAL" clId="{31903C68-52A0-48FE-98FD-9E75A2ACE02D}" dt="2022-01-11T12:08:00.406" v="219" actId="255"/>
          <ac:spMkLst>
            <pc:docMk/>
            <pc:sldMk cId="1513653071" sldId="332"/>
            <ac:spMk id="15" creationId="{38DFAD53-23B7-4E2C-AB21-2A32C94F1E8C}"/>
          </ac:spMkLst>
        </pc:spChg>
        <pc:spChg chg="mod">
          <ac:chgData name="Schwering, Benedikt" userId="c2c3cde8-3e01-49e2-b34b-d8b2966c5f86" providerId="ADAL" clId="{31903C68-52A0-48FE-98FD-9E75A2ACE02D}" dt="2022-01-11T12:06:59.633" v="198" actId="1036"/>
          <ac:spMkLst>
            <pc:docMk/>
            <pc:sldMk cId="1513653071" sldId="332"/>
            <ac:spMk id="29" creationId="{423897CA-3D8C-4EFB-BB15-57E363D6BA45}"/>
          </ac:spMkLst>
        </pc:spChg>
        <pc:spChg chg="mod">
          <ac:chgData name="Schwering, Benedikt" userId="c2c3cde8-3e01-49e2-b34b-d8b2966c5f86" providerId="ADAL" clId="{31903C68-52A0-48FE-98FD-9E75A2ACE02D}" dt="2022-01-11T12:11:26.517" v="256" actId="403"/>
          <ac:spMkLst>
            <pc:docMk/>
            <pc:sldMk cId="1513653071" sldId="332"/>
            <ac:spMk id="38" creationId="{FBEE8295-2A49-4AA3-B26E-4399C7E92B31}"/>
          </ac:spMkLst>
        </pc:spChg>
        <pc:spChg chg="mod ord">
          <ac:chgData name="Schwering, Benedikt" userId="c2c3cde8-3e01-49e2-b34b-d8b2966c5f86" providerId="ADAL" clId="{31903C68-52A0-48FE-98FD-9E75A2ACE02D}" dt="2022-01-11T12:05:53.711" v="135" actId="171"/>
          <ac:spMkLst>
            <pc:docMk/>
            <pc:sldMk cId="1513653071" sldId="332"/>
            <ac:spMk id="40" creationId="{84BE06C0-C997-46F1-A20F-FB64B716D7EF}"/>
          </ac:spMkLst>
        </pc:spChg>
        <pc:spChg chg="mod">
          <ac:chgData name="Schwering, Benedikt" userId="c2c3cde8-3e01-49e2-b34b-d8b2966c5f86" providerId="ADAL" clId="{31903C68-52A0-48FE-98FD-9E75A2ACE02D}" dt="2022-01-11T12:11:33.074" v="257" actId="403"/>
          <ac:spMkLst>
            <pc:docMk/>
            <pc:sldMk cId="1513653071" sldId="332"/>
            <ac:spMk id="51" creationId="{2AB29918-DF01-4C33-B497-16B9EA944CAB}"/>
          </ac:spMkLst>
        </pc:spChg>
        <pc:spChg chg="mod">
          <ac:chgData name="Schwering, Benedikt" userId="c2c3cde8-3e01-49e2-b34b-d8b2966c5f86" providerId="ADAL" clId="{31903C68-52A0-48FE-98FD-9E75A2ACE02D}" dt="2022-01-11T12:05:09.437" v="118" actId="1076"/>
          <ac:spMkLst>
            <pc:docMk/>
            <pc:sldMk cId="1513653071" sldId="332"/>
            <ac:spMk id="53" creationId="{673DFDC7-321A-4981-9B47-217494B83C09}"/>
          </ac:spMkLst>
        </pc:spChg>
        <pc:spChg chg="mod">
          <ac:chgData name="Schwering, Benedikt" userId="c2c3cde8-3e01-49e2-b34b-d8b2966c5f86" providerId="ADAL" clId="{31903C68-52A0-48FE-98FD-9E75A2ACE02D}" dt="2022-01-11T12:11:53.885" v="259" actId="207"/>
          <ac:spMkLst>
            <pc:docMk/>
            <pc:sldMk cId="1513653071" sldId="332"/>
            <ac:spMk id="57" creationId="{DB4F5226-50AA-4AAA-AD42-2AB2CC824C90}"/>
          </ac:spMkLst>
        </pc:spChg>
        <pc:spChg chg="mod">
          <ac:chgData name="Schwering, Benedikt" userId="c2c3cde8-3e01-49e2-b34b-d8b2966c5f86" providerId="ADAL" clId="{31903C68-52A0-48FE-98FD-9E75A2ACE02D}" dt="2022-01-11T12:12:10.588" v="262" actId="207"/>
          <ac:spMkLst>
            <pc:docMk/>
            <pc:sldMk cId="1513653071" sldId="332"/>
            <ac:spMk id="58" creationId="{510782FE-EDB9-4D29-9F34-30A35E58094A}"/>
          </ac:spMkLst>
        </pc:spChg>
        <pc:spChg chg="mod">
          <ac:chgData name="Schwering, Benedikt" userId="c2c3cde8-3e01-49e2-b34b-d8b2966c5f86" providerId="ADAL" clId="{31903C68-52A0-48FE-98FD-9E75A2ACE02D}" dt="2022-01-11T12:09:08.431" v="226" actId="1076"/>
          <ac:spMkLst>
            <pc:docMk/>
            <pc:sldMk cId="1513653071" sldId="332"/>
            <ac:spMk id="63" creationId="{DE4A48FF-4FA4-4938-B8C9-7BE017D0D723}"/>
          </ac:spMkLst>
        </pc:spChg>
        <pc:spChg chg="mod">
          <ac:chgData name="Schwering, Benedikt" userId="c2c3cde8-3e01-49e2-b34b-d8b2966c5f86" providerId="ADAL" clId="{31903C68-52A0-48FE-98FD-9E75A2ACE02D}" dt="2022-01-11T12:12:43.669" v="266" actId="1076"/>
          <ac:spMkLst>
            <pc:docMk/>
            <pc:sldMk cId="1513653071" sldId="332"/>
            <ac:spMk id="64" creationId="{19D43215-9F98-4882-A6F9-BAE3BC197E3D}"/>
          </ac:spMkLst>
        </pc:spChg>
        <pc:spChg chg="mod">
          <ac:chgData name="Schwering, Benedikt" userId="c2c3cde8-3e01-49e2-b34b-d8b2966c5f86" providerId="ADAL" clId="{31903C68-52A0-48FE-98FD-9E75A2ACE02D}" dt="2022-01-11T12:12:13.429" v="263" actId="207"/>
          <ac:spMkLst>
            <pc:docMk/>
            <pc:sldMk cId="1513653071" sldId="332"/>
            <ac:spMk id="65" creationId="{621C258C-C11F-40AC-99DD-95A7BDD9E642}"/>
          </ac:spMkLst>
        </pc:spChg>
        <pc:spChg chg="mod">
          <ac:chgData name="Schwering, Benedikt" userId="c2c3cde8-3e01-49e2-b34b-d8b2966c5f86" providerId="ADAL" clId="{31903C68-52A0-48FE-98FD-9E75A2ACE02D}" dt="2022-01-11T12:11:19.962" v="255" actId="403"/>
          <ac:spMkLst>
            <pc:docMk/>
            <pc:sldMk cId="1513653071" sldId="332"/>
            <ac:spMk id="67" creationId="{9B438DB0-78C3-4B80-ACFD-D4D41F4C943E}"/>
          </ac:spMkLst>
        </pc:spChg>
        <pc:spChg chg="mod">
          <ac:chgData name="Schwering, Benedikt" userId="c2c3cde8-3e01-49e2-b34b-d8b2966c5f86" providerId="ADAL" clId="{31903C68-52A0-48FE-98FD-9E75A2ACE02D}" dt="2022-01-11T12:11:00.411" v="251" actId="1076"/>
          <ac:spMkLst>
            <pc:docMk/>
            <pc:sldMk cId="1513653071" sldId="332"/>
            <ac:spMk id="70" creationId="{7CA13471-B880-4B6F-9A3A-F043C4D8C2B0}"/>
          </ac:spMkLst>
        </pc:spChg>
        <pc:spChg chg="mod">
          <ac:chgData name="Schwering, Benedikt" userId="c2c3cde8-3e01-49e2-b34b-d8b2966c5f86" providerId="ADAL" clId="{31903C68-52A0-48FE-98FD-9E75A2ACE02D}" dt="2022-01-11T12:08:44.904" v="221" actId="1076"/>
          <ac:spMkLst>
            <pc:docMk/>
            <pc:sldMk cId="1513653071" sldId="332"/>
            <ac:spMk id="74" creationId="{0725B122-94E8-4B15-9908-4A16AED53C69}"/>
          </ac:spMkLst>
        </pc:spChg>
        <pc:spChg chg="mod">
          <ac:chgData name="Schwering, Benedikt" userId="c2c3cde8-3e01-49e2-b34b-d8b2966c5f86" providerId="ADAL" clId="{31903C68-52A0-48FE-98FD-9E75A2ACE02D}" dt="2022-01-11T12:04:18.315" v="111" actId="14100"/>
          <ac:spMkLst>
            <pc:docMk/>
            <pc:sldMk cId="1513653071" sldId="332"/>
            <ac:spMk id="86" creationId="{63E16A01-A772-47F8-A973-03CDC0CA4BB7}"/>
          </ac:spMkLst>
        </pc:spChg>
        <pc:spChg chg="mod">
          <ac:chgData name="Schwering, Benedikt" userId="c2c3cde8-3e01-49e2-b34b-d8b2966c5f86" providerId="ADAL" clId="{31903C68-52A0-48FE-98FD-9E75A2ACE02D}" dt="2022-01-11T12:07:09.515" v="201" actId="1076"/>
          <ac:spMkLst>
            <pc:docMk/>
            <pc:sldMk cId="1513653071" sldId="332"/>
            <ac:spMk id="87" creationId="{6FBF41DB-8FAE-4BCA-8E37-0D6118F4EE8A}"/>
          </ac:spMkLst>
        </pc:spChg>
        <pc:picChg chg="mod">
          <ac:chgData name="Schwering, Benedikt" userId="c2c3cde8-3e01-49e2-b34b-d8b2966c5f86" providerId="ADAL" clId="{31903C68-52A0-48FE-98FD-9E75A2ACE02D}" dt="2022-01-11T12:03:55.189" v="104"/>
          <ac:picMkLst>
            <pc:docMk/>
            <pc:sldMk cId="1513653071" sldId="332"/>
            <ac:picMk id="9" creationId="{5547C614-855D-4788-9670-8BF6C30C0BAA}"/>
          </ac:picMkLst>
        </pc:picChg>
        <pc:cxnChg chg="mod">
          <ac:chgData name="Schwering, Benedikt" userId="c2c3cde8-3e01-49e2-b34b-d8b2966c5f86" providerId="ADAL" clId="{31903C68-52A0-48FE-98FD-9E75A2ACE02D}" dt="2022-01-11T12:07:09.515" v="201" actId="1076"/>
          <ac:cxnSpMkLst>
            <pc:docMk/>
            <pc:sldMk cId="1513653071" sldId="332"/>
            <ac:cxnSpMk id="20" creationId="{D12DFED4-DBE8-4A67-B6EA-18F35660951A}"/>
          </ac:cxnSpMkLst>
        </pc:cxnChg>
        <pc:cxnChg chg="mod">
          <ac:chgData name="Schwering, Benedikt" userId="c2c3cde8-3e01-49e2-b34b-d8b2966c5f86" providerId="ADAL" clId="{31903C68-52A0-48FE-98FD-9E75A2ACE02D}" dt="2022-01-11T12:07:07.673" v="200" actId="1076"/>
          <ac:cxnSpMkLst>
            <pc:docMk/>
            <pc:sldMk cId="1513653071" sldId="332"/>
            <ac:cxnSpMk id="22" creationId="{E63BFF6F-24D6-48DE-8E58-31C4056851AB}"/>
          </ac:cxnSpMkLst>
        </pc:cxnChg>
        <pc:cxnChg chg="mod">
          <ac:chgData name="Schwering, Benedikt" userId="c2c3cde8-3e01-49e2-b34b-d8b2966c5f86" providerId="ADAL" clId="{31903C68-52A0-48FE-98FD-9E75A2ACE02D}" dt="2022-01-11T12:07:04.609" v="199" actId="1076"/>
          <ac:cxnSpMkLst>
            <pc:docMk/>
            <pc:sldMk cId="1513653071" sldId="332"/>
            <ac:cxnSpMk id="24" creationId="{904C8A2D-3296-4235-8782-F0F8C5114E48}"/>
          </ac:cxnSpMkLst>
        </pc:cxnChg>
        <pc:cxnChg chg="mod">
          <ac:chgData name="Schwering, Benedikt" userId="c2c3cde8-3e01-49e2-b34b-d8b2966c5f86" providerId="ADAL" clId="{31903C68-52A0-48FE-98FD-9E75A2ACE02D}" dt="2022-01-11T12:12:27.967" v="264" actId="14100"/>
          <ac:cxnSpMkLst>
            <pc:docMk/>
            <pc:sldMk cId="1513653071" sldId="332"/>
            <ac:cxnSpMk id="27" creationId="{18C4A426-FA23-4A95-93D7-21626783DA90}"/>
          </ac:cxnSpMkLst>
        </pc:cxnChg>
        <pc:cxnChg chg="mod">
          <ac:chgData name="Schwering, Benedikt" userId="c2c3cde8-3e01-49e2-b34b-d8b2966c5f86" providerId="ADAL" clId="{31903C68-52A0-48FE-98FD-9E75A2ACE02D}" dt="2022-01-11T12:06:59.633" v="198" actId="1036"/>
          <ac:cxnSpMkLst>
            <pc:docMk/>
            <pc:sldMk cId="1513653071" sldId="332"/>
            <ac:cxnSpMk id="46" creationId="{73BCF6CE-A833-4FC4-ACA2-9F76FCE51514}"/>
          </ac:cxnSpMkLst>
        </pc:cxnChg>
        <pc:cxnChg chg="mod">
          <ac:chgData name="Schwering, Benedikt" userId="c2c3cde8-3e01-49e2-b34b-d8b2966c5f86" providerId="ADAL" clId="{31903C68-52A0-48FE-98FD-9E75A2ACE02D}" dt="2022-01-11T12:05:44.244" v="126" actId="14100"/>
          <ac:cxnSpMkLst>
            <pc:docMk/>
            <pc:sldMk cId="1513653071" sldId="332"/>
            <ac:cxnSpMk id="55" creationId="{9FC9ADE9-5828-49C0-8229-62B745B694BC}"/>
          </ac:cxnSpMkLst>
        </pc:cxnChg>
        <pc:cxnChg chg="mod">
          <ac:chgData name="Schwering, Benedikt" userId="c2c3cde8-3e01-49e2-b34b-d8b2966c5f86" providerId="ADAL" clId="{31903C68-52A0-48FE-98FD-9E75A2ACE02D}" dt="2022-01-11T12:11:00.411" v="251" actId="1076"/>
          <ac:cxnSpMkLst>
            <pc:docMk/>
            <pc:sldMk cId="1513653071" sldId="332"/>
            <ac:cxnSpMk id="59" creationId="{7F312922-0BDA-4D2E-8411-6285B49F9B1E}"/>
          </ac:cxnSpMkLst>
        </pc:cxnChg>
        <pc:cxnChg chg="mod">
          <ac:chgData name="Schwering, Benedikt" userId="c2c3cde8-3e01-49e2-b34b-d8b2966c5f86" providerId="ADAL" clId="{31903C68-52A0-48FE-98FD-9E75A2ACE02D}" dt="2022-01-11T12:10:57.494" v="250" actId="14100"/>
          <ac:cxnSpMkLst>
            <pc:docMk/>
            <pc:sldMk cId="1513653071" sldId="332"/>
            <ac:cxnSpMk id="60" creationId="{B032FB27-D871-4533-831B-3792C278A887}"/>
          </ac:cxnSpMkLst>
        </pc:cxnChg>
        <pc:cxnChg chg="mod">
          <ac:chgData name="Schwering, Benedikt" userId="c2c3cde8-3e01-49e2-b34b-d8b2966c5f86" providerId="ADAL" clId="{31903C68-52A0-48FE-98FD-9E75A2ACE02D}" dt="2022-01-11T12:10:39.265" v="246" actId="14100"/>
          <ac:cxnSpMkLst>
            <pc:docMk/>
            <pc:sldMk cId="1513653071" sldId="332"/>
            <ac:cxnSpMk id="61" creationId="{B76281F3-D08D-4104-B8E4-211B14DE9751}"/>
          </ac:cxnSpMkLst>
        </pc:cxnChg>
        <pc:cxnChg chg="mod">
          <ac:chgData name="Schwering, Benedikt" userId="c2c3cde8-3e01-49e2-b34b-d8b2966c5f86" providerId="ADAL" clId="{31903C68-52A0-48FE-98FD-9E75A2ACE02D}" dt="2022-01-11T12:12:54.196" v="267" actId="14100"/>
          <ac:cxnSpMkLst>
            <pc:docMk/>
            <pc:sldMk cId="1513653071" sldId="332"/>
            <ac:cxnSpMk id="62" creationId="{573683C2-DB6A-4FA5-A9E1-7058D670A599}"/>
          </ac:cxnSpMkLst>
        </pc:cxnChg>
        <pc:cxnChg chg="mod">
          <ac:chgData name="Schwering, Benedikt" userId="c2c3cde8-3e01-49e2-b34b-d8b2966c5f86" providerId="ADAL" clId="{31903C68-52A0-48FE-98FD-9E75A2ACE02D}" dt="2022-01-11T12:09:08.431" v="226" actId="1076"/>
          <ac:cxnSpMkLst>
            <pc:docMk/>
            <pc:sldMk cId="1513653071" sldId="332"/>
            <ac:cxnSpMk id="66" creationId="{417AC755-9938-4887-8934-658F2A7CBE2E}"/>
          </ac:cxnSpMkLst>
        </pc:cxnChg>
        <pc:cxnChg chg="mod">
          <ac:chgData name="Schwering, Benedikt" userId="c2c3cde8-3e01-49e2-b34b-d8b2966c5f86" providerId="ADAL" clId="{31903C68-52A0-48FE-98FD-9E75A2ACE02D}" dt="2022-01-11T12:08:54.899" v="225" actId="1076"/>
          <ac:cxnSpMkLst>
            <pc:docMk/>
            <pc:sldMk cId="1513653071" sldId="332"/>
            <ac:cxnSpMk id="69" creationId="{04ED63EE-6FA2-4BA5-B81E-D2C7E6AB046D}"/>
          </ac:cxnSpMkLst>
        </pc:cxnChg>
      </pc:sldChg>
      <pc:sldChg chg="delSp del mod">
        <pc:chgData name="Schwering, Benedikt" userId="c2c3cde8-3e01-49e2-b34b-d8b2966c5f86" providerId="ADAL" clId="{31903C68-52A0-48FE-98FD-9E75A2ACE02D}" dt="2022-01-12T08:04:17.657" v="412" actId="2696"/>
        <pc:sldMkLst>
          <pc:docMk/>
          <pc:sldMk cId="2318110643" sldId="334"/>
        </pc:sldMkLst>
        <pc:picChg chg="del">
          <ac:chgData name="Schwering, Benedikt" userId="c2c3cde8-3e01-49e2-b34b-d8b2966c5f86" providerId="ADAL" clId="{31903C68-52A0-48FE-98FD-9E75A2ACE02D}" dt="2022-01-12T08:03:03.816" v="394" actId="21"/>
          <ac:picMkLst>
            <pc:docMk/>
            <pc:sldMk cId="2318110643" sldId="334"/>
            <ac:picMk id="7" creationId="{47827FF1-C7F5-44D4-9C13-EE82B7CD8D1A}"/>
          </ac:picMkLst>
        </pc:picChg>
        <pc:picChg chg="del">
          <ac:chgData name="Schwering, Benedikt" userId="c2c3cde8-3e01-49e2-b34b-d8b2966c5f86" providerId="ADAL" clId="{31903C68-52A0-48FE-98FD-9E75A2ACE02D}" dt="2022-01-12T08:03:31.272" v="401" actId="21"/>
          <ac:picMkLst>
            <pc:docMk/>
            <pc:sldMk cId="2318110643" sldId="334"/>
            <ac:picMk id="1026" creationId="{C9730C7C-3916-4E03-95C1-F63CD9CBF761}"/>
          </ac:picMkLst>
        </pc:picChg>
        <pc:picChg chg="del">
          <ac:chgData name="Schwering, Benedikt" userId="c2c3cde8-3e01-49e2-b34b-d8b2966c5f86" providerId="ADAL" clId="{31903C68-52A0-48FE-98FD-9E75A2ACE02D}" dt="2022-01-12T08:03:31.272" v="401" actId="21"/>
          <ac:picMkLst>
            <pc:docMk/>
            <pc:sldMk cId="2318110643" sldId="334"/>
            <ac:picMk id="1028" creationId="{202C308A-BA5F-4EC1-9378-3B9FE6B9781F}"/>
          </ac:picMkLst>
        </pc:picChg>
        <pc:picChg chg="del">
          <ac:chgData name="Schwering, Benedikt" userId="c2c3cde8-3e01-49e2-b34b-d8b2966c5f86" providerId="ADAL" clId="{31903C68-52A0-48FE-98FD-9E75A2ACE02D}" dt="2022-01-12T08:03:31.272" v="401" actId="21"/>
          <ac:picMkLst>
            <pc:docMk/>
            <pc:sldMk cId="2318110643" sldId="334"/>
            <ac:picMk id="1032" creationId="{9F505AD9-A75E-4A3B-8239-F4D50E72982A}"/>
          </ac:picMkLst>
        </pc:picChg>
        <pc:picChg chg="del">
          <ac:chgData name="Schwering, Benedikt" userId="c2c3cde8-3e01-49e2-b34b-d8b2966c5f86" providerId="ADAL" clId="{31903C68-52A0-48FE-98FD-9E75A2ACE02D}" dt="2022-01-12T08:03:31.272" v="401" actId="21"/>
          <ac:picMkLst>
            <pc:docMk/>
            <pc:sldMk cId="2318110643" sldId="334"/>
            <ac:picMk id="1034" creationId="{6DE06102-329B-4679-ACC2-F4CF03284BD1}"/>
          </ac:picMkLst>
        </pc:picChg>
      </pc:sldChg>
      <pc:sldChg chg="addSp delSp modSp mod setBg">
        <pc:chgData name="Schwering, Benedikt" userId="c2c3cde8-3e01-49e2-b34b-d8b2966c5f86" providerId="ADAL" clId="{31903C68-52A0-48FE-98FD-9E75A2ACE02D}" dt="2022-01-11T12:48:28.758" v="299" actId="478"/>
        <pc:sldMkLst>
          <pc:docMk/>
          <pc:sldMk cId="3816097526" sldId="335"/>
        </pc:sldMkLst>
        <pc:spChg chg="mod">
          <ac:chgData name="Schwering, Benedikt" userId="c2c3cde8-3e01-49e2-b34b-d8b2966c5f86" providerId="ADAL" clId="{31903C68-52A0-48FE-98FD-9E75A2ACE02D}" dt="2022-01-11T07:35:28.122" v="83" actId="1036"/>
          <ac:spMkLst>
            <pc:docMk/>
            <pc:sldMk cId="3816097526" sldId="335"/>
            <ac:spMk id="2" creationId="{8CF063B2-90A3-4C11-B2E8-EC4BF00DEED8}"/>
          </ac:spMkLst>
        </pc:spChg>
        <pc:spChg chg="add mod">
          <ac:chgData name="Schwering, Benedikt" userId="c2c3cde8-3e01-49e2-b34b-d8b2966c5f86" providerId="ADAL" clId="{31903C68-52A0-48FE-98FD-9E75A2ACE02D}" dt="2022-01-11T07:35:28.122" v="83" actId="1036"/>
          <ac:spMkLst>
            <pc:docMk/>
            <pc:sldMk cId="3816097526" sldId="335"/>
            <ac:spMk id="5" creationId="{337BBDDF-003F-489A-9A4C-A20541576FFA}"/>
          </ac:spMkLst>
        </pc:spChg>
        <pc:picChg chg="add del mod">
          <ac:chgData name="Schwering, Benedikt" userId="c2c3cde8-3e01-49e2-b34b-d8b2966c5f86" providerId="ADAL" clId="{31903C68-52A0-48FE-98FD-9E75A2ACE02D}" dt="2022-01-11T12:48:28.758" v="299" actId="478"/>
          <ac:picMkLst>
            <pc:docMk/>
            <pc:sldMk cId="3816097526" sldId="335"/>
            <ac:picMk id="6" creationId="{3CD1DF67-DAEA-4CDE-A0FD-890CBBB0A305}"/>
          </ac:picMkLst>
        </pc:picChg>
      </pc:sldChg>
      <pc:sldMasterChg chg="modSldLayout">
        <pc:chgData name="Schwering, Benedikt" userId="c2c3cde8-3e01-49e2-b34b-d8b2966c5f86" providerId="ADAL" clId="{31903C68-52A0-48FE-98FD-9E75A2ACE02D}" dt="2022-01-12T08:09:46.309" v="441" actId="6549"/>
        <pc:sldMasterMkLst>
          <pc:docMk/>
          <pc:sldMasterMk cId="0" sldId="2147484081"/>
        </pc:sldMasterMkLst>
        <pc:sldLayoutChg chg="modSp mod">
          <pc:chgData name="Schwering, Benedikt" userId="c2c3cde8-3e01-49e2-b34b-d8b2966c5f86" providerId="ADAL" clId="{31903C68-52A0-48FE-98FD-9E75A2ACE02D}" dt="2022-01-12T08:09:41.383" v="438" actId="6549"/>
          <pc:sldLayoutMkLst>
            <pc:docMk/>
            <pc:sldMasterMk cId="0" sldId="2147484081"/>
            <pc:sldLayoutMk cId="1708998347" sldId="2147484144"/>
          </pc:sldLayoutMkLst>
          <pc:spChg chg="mod">
            <ac:chgData name="Schwering, Benedikt" userId="c2c3cde8-3e01-49e2-b34b-d8b2966c5f86" providerId="ADAL" clId="{31903C68-52A0-48FE-98FD-9E75A2ACE02D}" dt="2022-01-12T08:09:41.383" v="438" actId="6549"/>
            <ac:spMkLst>
              <pc:docMk/>
              <pc:sldMasterMk cId="0" sldId="2147484081"/>
              <pc:sldLayoutMk cId="1708998347" sldId="2147484144"/>
              <ac:spMk id="7" creationId="{00000000-0000-0000-0000-000000000000}"/>
            </ac:spMkLst>
          </pc:spChg>
        </pc:sldLayoutChg>
        <pc:sldLayoutChg chg="modSp mod">
          <pc:chgData name="Schwering, Benedikt" userId="c2c3cde8-3e01-49e2-b34b-d8b2966c5f86" providerId="ADAL" clId="{31903C68-52A0-48FE-98FD-9E75A2ACE02D}" dt="2022-01-12T08:09:46.309" v="441" actId="6549"/>
          <pc:sldLayoutMkLst>
            <pc:docMk/>
            <pc:sldMasterMk cId="0" sldId="2147484081"/>
            <pc:sldLayoutMk cId="2183149349" sldId="2147484146"/>
          </pc:sldLayoutMkLst>
          <pc:spChg chg="mod">
            <ac:chgData name="Schwering, Benedikt" userId="c2c3cde8-3e01-49e2-b34b-d8b2966c5f86" providerId="ADAL" clId="{31903C68-52A0-48FE-98FD-9E75A2ACE02D}" dt="2022-01-12T08:09:46.309" v="441" actId="6549"/>
            <ac:spMkLst>
              <pc:docMk/>
              <pc:sldMasterMk cId="0" sldId="2147484081"/>
              <pc:sldLayoutMk cId="2183149349" sldId="2147484146"/>
              <ac:spMk id="15" creationId="{5776FAD7-B775-4E51-88DE-68688990A30A}"/>
            </ac:spMkLst>
          </pc:spChg>
          <pc:picChg chg="mod">
            <ac:chgData name="Schwering, Benedikt" userId="c2c3cde8-3e01-49e2-b34b-d8b2966c5f86" providerId="ADAL" clId="{31903C68-52A0-48FE-98FD-9E75A2ACE02D}" dt="2022-01-11T12:38:59.161" v="290" actId="18131"/>
            <ac:picMkLst>
              <pc:docMk/>
              <pc:sldMasterMk cId="0" sldId="2147484081"/>
              <pc:sldLayoutMk cId="2183149349" sldId="2147484146"/>
              <ac:picMk id="9" creationId="{00000000-0000-0000-0000-000000000000}"/>
            </ac:picMkLst>
          </pc:picChg>
        </pc:sldLayoutChg>
      </pc:sldMasterChg>
      <pc:sldMasterChg chg="modSp mod">
        <pc:chgData name="Schwering, Benedikt" userId="c2c3cde8-3e01-49e2-b34b-d8b2966c5f86" providerId="ADAL" clId="{31903C68-52A0-48FE-98FD-9E75A2ACE02D}" dt="2022-01-11T09:54:12.174" v="93" actId="20577"/>
        <pc:sldMasterMkLst>
          <pc:docMk/>
          <pc:sldMasterMk cId="0" sldId="2147484100"/>
        </pc:sldMasterMkLst>
        <pc:spChg chg="mod">
          <ac:chgData name="Schwering, Benedikt" userId="c2c3cde8-3e01-49e2-b34b-d8b2966c5f86" providerId="ADAL" clId="{31903C68-52A0-48FE-98FD-9E75A2ACE02D}" dt="2022-01-11T09:54:12.174" v="93" actId="20577"/>
          <ac:spMkLst>
            <pc:docMk/>
            <pc:sldMasterMk cId="0" sldId="2147484100"/>
            <ac:spMk id="71" creationId="{00000000-0000-0000-0000-000000000000}"/>
          </ac:spMkLst>
        </pc:spChg>
      </pc:sldMasterChg>
    </pc:docChg>
  </pc:docChgLst>
  <pc:docChgLst>
    <pc:chgData name="Stening, Rieke (FLE ST&amp;MK)" userId="2acedbd6-4e32-4189-8070-66b02d48ac7c" providerId="ADAL" clId="{6B35011F-C707-4FC5-AB53-E4E95E83C996}"/>
    <pc:docChg chg="undo redo custSel delSld modSld modMainMaster">
      <pc:chgData name="Stening, Rieke (FLE ST&amp;MK)" userId="2acedbd6-4e32-4189-8070-66b02d48ac7c" providerId="ADAL" clId="{6B35011F-C707-4FC5-AB53-E4E95E83C996}" dt="2021-01-27T07:34:27.479" v="132" actId="20578"/>
      <pc:docMkLst>
        <pc:docMk/>
      </pc:docMkLst>
      <pc:sldChg chg="modSp mod">
        <pc:chgData name="Stening, Rieke (FLE ST&amp;MK)" userId="2acedbd6-4e32-4189-8070-66b02d48ac7c" providerId="ADAL" clId="{6B35011F-C707-4FC5-AB53-E4E95E83C996}" dt="2021-01-27T07:25:37.011" v="126"/>
        <pc:sldMkLst>
          <pc:docMk/>
          <pc:sldMk cId="3955177997" sldId="308"/>
        </pc:sldMkLst>
        <pc:spChg chg="mod">
          <ac:chgData name="Stening, Rieke (FLE ST&amp;MK)" userId="2acedbd6-4e32-4189-8070-66b02d48ac7c" providerId="ADAL" clId="{6B35011F-C707-4FC5-AB53-E4E95E83C996}" dt="2021-01-27T07:25:37.011" v="126"/>
          <ac:spMkLst>
            <pc:docMk/>
            <pc:sldMk cId="3955177997" sldId="308"/>
            <ac:spMk id="7" creationId="{1AA7F67F-73F7-4532-8C3F-A831AEDED601}"/>
          </ac:spMkLst>
        </pc:spChg>
      </pc:sldChg>
      <pc:sldChg chg="del">
        <pc:chgData name="Stening, Rieke (FLE ST&amp;MK)" userId="2acedbd6-4e32-4189-8070-66b02d48ac7c" providerId="ADAL" clId="{6B35011F-C707-4FC5-AB53-E4E95E83C996}" dt="2021-01-27T07:23:03.351" v="115" actId="47"/>
        <pc:sldMkLst>
          <pc:docMk/>
          <pc:sldMk cId="2669640659" sldId="319"/>
        </pc:sldMkLst>
      </pc:sldChg>
      <pc:sldMasterChg chg="modSldLayout sldLayoutOrd">
        <pc:chgData name="Stening, Rieke (FLE ST&amp;MK)" userId="2acedbd6-4e32-4189-8070-66b02d48ac7c" providerId="ADAL" clId="{6B35011F-C707-4FC5-AB53-E4E95E83C996}" dt="2021-01-27T07:34:27.479" v="132" actId="20578"/>
        <pc:sldMasterMkLst>
          <pc:docMk/>
          <pc:sldMasterMk cId="0" sldId="2147484081"/>
        </pc:sldMasterMkLst>
        <pc:sldLayoutChg chg="ord">
          <pc:chgData name="Stening, Rieke (FLE ST&amp;MK)" userId="2acedbd6-4e32-4189-8070-66b02d48ac7c" providerId="ADAL" clId="{6B35011F-C707-4FC5-AB53-E4E95E83C996}" dt="2021-01-27T07:21:00.053" v="0" actId="20578"/>
          <pc:sldLayoutMkLst>
            <pc:docMk/>
            <pc:sldMasterMk cId="0" sldId="2147484100"/>
            <pc:sldLayoutMk cId="3788247591" sldId="2147484153"/>
          </pc:sldLayoutMkLst>
        </pc:sldLayoutChg>
        <pc:sldLayoutChg chg="ord">
          <pc:chgData name="Stening, Rieke (FLE ST&amp;MK)" userId="2acedbd6-4e32-4189-8070-66b02d48ac7c" providerId="ADAL" clId="{6B35011F-C707-4FC5-AB53-E4E95E83C996}" dt="2021-01-27T07:21:00.053" v="0" actId="20578"/>
          <pc:sldLayoutMkLst>
            <pc:docMk/>
            <pc:sldMasterMk cId="0" sldId="2147484100"/>
            <pc:sldLayoutMk cId="2753410502" sldId="2147484154"/>
          </pc:sldLayoutMkLst>
        </pc:sldLayoutChg>
      </pc:sldMasterChg>
      <pc:sldMasterChg chg="delSldLayout modSldLayout sldLayoutOrd">
        <pc:chgData name="Stening, Rieke (FLE ST&amp;MK)" userId="2acedbd6-4e32-4189-8070-66b02d48ac7c" providerId="ADAL" clId="{6B35011F-C707-4FC5-AB53-E4E95E83C996}" dt="2021-01-27T07:34:27.479" v="132" actId="20578"/>
        <pc:sldMasterMkLst>
          <pc:docMk/>
          <pc:sldMasterMk cId="0" sldId="2147484100"/>
        </pc:sldMasterMkLst>
        <pc:sldLayoutChg chg="modSp mod ord">
          <pc:chgData name="Stening, Rieke (FLE ST&amp;MK)" userId="2acedbd6-4e32-4189-8070-66b02d48ac7c" providerId="ADAL" clId="{6B35011F-C707-4FC5-AB53-E4E95E83C996}" dt="2021-01-27T07:34:27.479" v="132" actId="20578"/>
          <pc:sldLayoutMkLst>
            <pc:docMk/>
            <pc:sldMasterMk cId="0" sldId="2147484100"/>
            <pc:sldLayoutMk cId="91303253" sldId="2147484125"/>
          </pc:sldLayoutMkLst>
          <pc:spChg chg="mod">
            <ac:chgData name="Stening, Rieke (FLE ST&amp;MK)" userId="2acedbd6-4e32-4189-8070-66b02d48ac7c" providerId="ADAL" clId="{6B35011F-C707-4FC5-AB53-E4E95E83C996}" dt="2021-01-27T07:34:27.479" v="132" actId="20578"/>
            <ac:spMkLst>
              <pc:docMk/>
              <pc:sldMasterMk cId="0" sldId="2147484100"/>
              <pc:sldLayoutMk cId="91303253" sldId="2147484125"/>
              <ac:spMk id="3" creationId="{00000000-0000-0000-0000-000000000000}"/>
            </ac:spMkLst>
          </pc:spChg>
          <pc:spChg chg="mod">
            <ac:chgData name="Stening, Rieke (FLE ST&amp;MK)" userId="2acedbd6-4e32-4189-8070-66b02d48ac7c" providerId="ADAL" clId="{6B35011F-C707-4FC5-AB53-E4E95E83C996}" dt="2021-01-27T07:34:27.479" v="132" actId="20578"/>
            <ac:spMkLst>
              <pc:docMk/>
              <pc:sldMasterMk cId="0" sldId="2147484100"/>
              <pc:sldLayoutMk cId="91303253" sldId="2147484125"/>
              <ac:spMk id="5" creationId="{00000000-0000-0000-0000-000000000000}"/>
            </ac:spMkLst>
          </pc:spChg>
          <pc:spChg chg="mod">
            <ac:chgData name="Stening, Rieke (FLE ST&amp;MK)" userId="2acedbd6-4e32-4189-8070-66b02d48ac7c" providerId="ADAL" clId="{6B35011F-C707-4FC5-AB53-E4E95E83C996}" dt="2021-01-27T07:34:27.479" v="132" actId="20578"/>
            <ac:spMkLst>
              <pc:docMk/>
              <pc:sldMasterMk cId="0" sldId="2147484100"/>
              <pc:sldLayoutMk cId="91303253" sldId="2147484125"/>
              <ac:spMk id="7" creationId="{6544531D-7A55-4C7F-85CA-E2DA171F8C7D}"/>
            </ac:spMkLst>
          </pc:spChg>
        </pc:sldLayoutChg>
        <pc:sldLayoutChg chg="delSp modSp mod ord">
          <pc:chgData name="Stening, Rieke (FLE ST&amp;MK)" userId="2acedbd6-4e32-4189-8070-66b02d48ac7c" providerId="ADAL" clId="{6B35011F-C707-4FC5-AB53-E4E95E83C996}" dt="2021-01-27T07:26:22.568" v="129" actId="478"/>
          <pc:sldLayoutMkLst>
            <pc:docMk/>
            <pc:sldMasterMk cId="0" sldId="2147484100"/>
            <pc:sldLayoutMk cId="2300627416" sldId="2147484150"/>
          </pc:sldLayoutMkLst>
          <pc:spChg chg="mod">
            <ac:chgData name="Stening, Rieke (FLE ST&amp;MK)" userId="2acedbd6-4e32-4189-8070-66b02d48ac7c" providerId="ADAL" clId="{6B35011F-C707-4FC5-AB53-E4E95E83C996}" dt="2021-01-27T07:26:03.072" v="127" actId="20578"/>
            <ac:spMkLst>
              <pc:docMk/>
              <pc:sldMasterMk cId="0" sldId="2147484100"/>
              <pc:sldLayoutMk cId="2300627416" sldId="2147484150"/>
              <ac:spMk id="3" creationId="{00000000-0000-0000-0000-000000000000}"/>
            </ac:spMkLst>
          </pc:spChg>
          <pc:spChg chg="del mod">
            <ac:chgData name="Stening, Rieke (FLE ST&amp;MK)" userId="2acedbd6-4e32-4189-8070-66b02d48ac7c" providerId="ADAL" clId="{6B35011F-C707-4FC5-AB53-E4E95E83C996}" dt="2021-01-27T07:26:22.568" v="129" actId="478"/>
            <ac:spMkLst>
              <pc:docMk/>
              <pc:sldMasterMk cId="0" sldId="2147484100"/>
              <pc:sldLayoutMk cId="2300627416" sldId="2147484150"/>
              <ac:spMk id="6" creationId="{BED4CA89-CBB3-44C9-9463-B621BDD3168F}"/>
            </ac:spMkLst>
          </pc:spChg>
          <pc:spChg chg="mod">
            <ac:chgData name="Stening, Rieke (FLE ST&amp;MK)" userId="2acedbd6-4e32-4189-8070-66b02d48ac7c" providerId="ADAL" clId="{6B35011F-C707-4FC5-AB53-E4E95E83C996}" dt="2021-01-27T07:26:03.072" v="127" actId="20578"/>
            <ac:spMkLst>
              <pc:docMk/>
              <pc:sldMasterMk cId="0" sldId="2147484100"/>
              <pc:sldLayoutMk cId="2300627416" sldId="2147484150"/>
              <ac:spMk id="7" creationId="{00000000-0000-0000-0000-000000000000}"/>
            </ac:spMkLst>
          </pc:spChg>
          <pc:spChg chg="mod">
            <ac:chgData name="Stening, Rieke (FLE ST&amp;MK)" userId="2acedbd6-4e32-4189-8070-66b02d48ac7c" providerId="ADAL" clId="{6B35011F-C707-4FC5-AB53-E4E95E83C996}" dt="2021-01-27T07:26:03.072" v="127" actId="20578"/>
            <ac:spMkLst>
              <pc:docMk/>
              <pc:sldMasterMk cId="0" sldId="2147484100"/>
              <pc:sldLayoutMk cId="2300627416" sldId="2147484150"/>
              <ac:spMk id="10" creationId="{00000000-0000-0000-0000-000000000000}"/>
            </ac:spMkLst>
          </pc:spChg>
          <pc:spChg chg="mod">
            <ac:chgData name="Stening, Rieke (FLE ST&amp;MK)" userId="2acedbd6-4e32-4189-8070-66b02d48ac7c" providerId="ADAL" clId="{6B35011F-C707-4FC5-AB53-E4E95E83C996}" dt="2021-01-27T07:26:03.072" v="127" actId="20578"/>
            <ac:spMkLst>
              <pc:docMk/>
              <pc:sldMasterMk cId="0" sldId="2147484100"/>
              <pc:sldLayoutMk cId="2300627416" sldId="2147484150"/>
              <ac:spMk id="11" creationId="{81563465-38FB-4DFD-BE08-54BE74D58845}"/>
            </ac:spMkLst>
          </pc:spChg>
        </pc:sldLayoutChg>
        <pc:sldLayoutChg chg="delSp modSp mod ord">
          <pc:chgData name="Stening, Rieke (FLE ST&amp;MK)" userId="2acedbd6-4e32-4189-8070-66b02d48ac7c" providerId="ADAL" clId="{6B35011F-C707-4FC5-AB53-E4E95E83C996}" dt="2021-01-27T07:33:50.194" v="131" actId="478"/>
          <pc:sldLayoutMkLst>
            <pc:docMk/>
            <pc:sldMasterMk cId="0" sldId="2147484100"/>
            <pc:sldLayoutMk cId="3788247591" sldId="2147484153"/>
          </pc:sldLayoutMkLst>
          <pc:spChg chg="mod">
            <ac:chgData name="Stening, Rieke (FLE ST&amp;MK)" userId="2acedbd6-4e32-4189-8070-66b02d48ac7c" providerId="ADAL" clId="{6B35011F-C707-4FC5-AB53-E4E95E83C996}" dt="2021-01-27T07:22:01.869" v="22"/>
            <ac:spMkLst>
              <pc:docMk/>
              <pc:sldMasterMk cId="0" sldId="2147484100"/>
              <pc:sldLayoutMk cId="3788247591" sldId="2147484153"/>
              <ac:spMk id="5" creationId="{8E74174B-F8A1-4D36-80AA-C786833C065F}"/>
            </ac:spMkLst>
          </pc:spChg>
          <pc:spChg chg="mod">
            <ac:chgData name="Stening, Rieke (FLE ST&amp;MK)" userId="2acedbd6-4e32-4189-8070-66b02d48ac7c" providerId="ADAL" clId="{6B35011F-C707-4FC5-AB53-E4E95E83C996}" dt="2021-01-27T07:22:01.878" v="24"/>
            <ac:spMkLst>
              <pc:docMk/>
              <pc:sldMasterMk cId="0" sldId="2147484100"/>
              <pc:sldLayoutMk cId="3788247591" sldId="2147484153"/>
              <ac:spMk id="6" creationId="{8B6269C5-9E4C-4214-AA9D-6281944E68B2}"/>
            </ac:spMkLst>
          </pc:spChg>
          <pc:spChg chg="mod">
            <ac:chgData name="Stening, Rieke (FLE ST&amp;MK)" userId="2acedbd6-4e32-4189-8070-66b02d48ac7c" providerId="ADAL" clId="{6B35011F-C707-4FC5-AB53-E4E95E83C996}" dt="2021-01-27T07:22:01.899" v="28"/>
            <ac:spMkLst>
              <pc:docMk/>
              <pc:sldMasterMk cId="0" sldId="2147484100"/>
              <pc:sldLayoutMk cId="3788247591" sldId="2147484153"/>
              <ac:spMk id="7" creationId="{F26B83CB-904B-411D-A39B-608AD4CE5444}"/>
            </ac:spMkLst>
          </pc:spChg>
          <pc:spChg chg="mod">
            <ac:chgData name="Stening, Rieke (FLE ST&amp;MK)" userId="2acedbd6-4e32-4189-8070-66b02d48ac7c" providerId="ADAL" clId="{6B35011F-C707-4FC5-AB53-E4E95E83C996}" dt="2021-01-27T07:22:01.912" v="30"/>
            <ac:spMkLst>
              <pc:docMk/>
              <pc:sldMasterMk cId="0" sldId="2147484100"/>
              <pc:sldLayoutMk cId="3788247591" sldId="2147484153"/>
              <ac:spMk id="8" creationId="{076B3F33-4D74-47C6-AC37-4AD05BD30228}"/>
            </ac:spMkLst>
          </pc:spChg>
          <pc:spChg chg="mod">
            <ac:chgData name="Stening, Rieke (FLE ST&amp;MK)" userId="2acedbd6-4e32-4189-8070-66b02d48ac7c" providerId="ADAL" clId="{6B35011F-C707-4FC5-AB53-E4E95E83C996}" dt="2021-01-27T07:22:01.888" v="26"/>
            <ac:spMkLst>
              <pc:docMk/>
              <pc:sldMasterMk cId="0" sldId="2147484100"/>
              <pc:sldLayoutMk cId="3788247591" sldId="2147484153"/>
              <ac:spMk id="9" creationId="{D3442179-722C-49C1-A17E-554EBEFA98A9}"/>
            </ac:spMkLst>
          </pc:spChg>
          <pc:spChg chg="del mod">
            <ac:chgData name="Stening, Rieke (FLE ST&amp;MK)" userId="2acedbd6-4e32-4189-8070-66b02d48ac7c" providerId="ADAL" clId="{6B35011F-C707-4FC5-AB53-E4E95E83C996}" dt="2021-01-27T07:33:50.194" v="131" actId="478"/>
            <ac:spMkLst>
              <pc:docMk/>
              <pc:sldMasterMk cId="0" sldId="2147484100"/>
              <pc:sldLayoutMk cId="3788247591" sldId="2147484153"/>
              <ac:spMk id="10" creationId="{500216DA-1BF6-4223-96B9-F6503511A3E6}"/>
            </ac:spMkLst>
          </pc:spChg>
          <pc:spChg chg="mod">
            <ac:chgData name="Stening, Rieke (FLE ST&amp;MK)" userId="2acedbd6-4e32-4189-8070-66b02d48ac7c" providerId="ADAL" clId="{6B35011F-C707-4FC5-AB53-E4E95E83C996}" dt="2021-01-27T07:22:01.859" v="20"/>
            <ac:spMkLst>
              <pc:docMk/>
              <pc:sldMasterMk cId="0" sldId="2147484100"/>
              <pc:sldLayoutMk cId="3788247591" sldId="2147484153"/>
              <ac:spMk id="11" creationId="{886E041B-40E2-4EEB-9DC9-C4D7B6D7CBD7}"/>
            </ac:spMkLst>
          </pc:spChg>
          <pc:spChg chg="mod">
            <ac:chgData name="Stening, Rieke (FLE ST&amp;MK)" userId="2acedbd6-4e32-4189-8070-66b02d48ac7c" providerId="ADAL" clId="{6B35011F-C707-4FC5-AB53-E4E95E83C996}" dt="2021-01-27T07:21:05.037" v="1" actId="20578"/>
            <ac:spMkLst>
              <pc:docMk/>
              <pc:sldMasterMk cId="0" sldId="2147484100"/>
              <pc:sldLayoutMk cId="3788247591" sldId="2147484153"/>
              <ac:spMk id="15" creationId="{C9575FC4-5374-4B45-B4B1-3438D4E438B3}"/>
            </ac:spMkLst>
          </pc:spChg>
          <pc:picChg chg="mod">
            <ac:chgData name="Stening, Rieke (FLE ST&amp;MK)" userId="2acedbd6-4e32-4189-8070-66b02d48ac7c" providerId="ADAL" clId="{6B35011F-C707-4FC5-AB53-E4E95E83C996}" dt="2021-01-27T07:21:43.556" v="6" actId="732"/>
            <ac:picMkLst>
              <pc:docMk/>
              <pc:sldMasterMk cId="0" sldId="2147484100"/>
              <pc:sldLayoutMk cId="3788247591" sldId="2147484153"/>
              <ac:picMk id="13" creationId="{AAB74DF6-C7FB-464D-89EB-4E92034B31DA}"/>
            </ac:picMkLst>
          </pc:picChg>
        </pc:sldLayoutChg>
        <pc:sldLayoutChg chg="modSp del mod ord">
          <pc:chgData name="Stening, Rieke (FLE ST&amp;MK)" userId="2acedbd6-4e32-4189-8070-66b02d48ac7c" providerId="ADAL" clId="{6B35011F-C707-4FC5-AB53-E4E95E83C996}" dt="2021-01-27T07:23:17.664" v="116" actId="2696"/>
          <pc:sldLayoutMkLst>
            <pc:docMk/>
            <pc:sldMasterMk cId="0" sldId="2147484100"/>
            <pc:sldLayoutMk cId="2753410502" sldId="2147484154"/>
          </pc:sldLayoutMkLst>
          <pc:spChg chg="mod">
            <ac:chgData name="Stening, Rieke (FLE ST&amp;MK)" userId="2acedbd6-4e32-4189-8070-66b02d48ac7c" providerId="ADAL" clId="{6B35011F-C707-4FC5-AB53-E4E95E83C996}" dt="2021-01-27T07:21:05.037" v="1" actId="20578"/>
            <ac:spMkLst>
              <pc:docMk/>
              <pc:sldMasterMk cId="0" sldId="2147484100"/>
              <pc:sldLayoutMk cId="2753410502" sldId="2147484154"/>
              <ac:spMk id="15" creationId="{C9575FC4-5374-4B45-B4B1-3438D4E438B3}"/>
            </ac:spMkLst>
          </pc:spChg>
        </pc:sldLayoutChg>
        <pc:sldLayoutChg chg="delSp modSp mod">
          <pc:chgData name="Stening, Rieke (FLE ST&amp;MK)" userId="2acedbd6-4e32-4189-8070-66b02d48ac7c" providerId="ADAL" clId="{6B35011F-C707-4FC5-AB53-E4E95E83C996}" dt="2021-01-27T07:33:44.705" v="130" actId="478"/>
          <pc:sldLayoutMkLst>
            <pc:docMk/>
            <pc:sldMasterMk cId="0" sldId="2147484100"/>
            <pc:sldLayoutMk cId="2247168808" sldId="2147484155"/>
          </pc:sldLayoutMkLst>
          <pc:spChg chg="mod">
            <ac:chgData name="Stening, Rieke (FLE ST&amp;MK)" userId="2acedbd6-4e32-4189-8070-66b02d48ac7c" providerId="ADAL" clId="{6B35011F-C707-4FC5-AB53-E4E95E83C996}" dt="2021-01-27T07:22:35.494" v="113" actId="108"/>
            <ac:spMkLst>
              <pc:docMk/>
              <pc:sldMasterMk cId="0" sldId="2147484100"/>
              <pc:sldLayoutMk cId="2247168808" sldId="2147484155"/>
              <ac:spMk id="5" creationId="{8E74174B-F8A1-4D36-80AA-C786833C065F}"/>
            </ac:spMkLst>
          </pc:spChg>
          <pc:spChg chg="del">
            <ac:chgData name="Stening, Rieke (FLE ST&amp;MK)" userId="2acedbd6-4e32-4189-8070-66b02d48ac7c" providerId="ADAL" clId="{6B35011F-C707-4FC5-AB53-E4E95E83C996}" dt="2021-01-27T07:33:44.705" v="130" actId="478"/>
            <ac:spMkLst>
              <pc:docMk/>
              <pc:sldMasterMk cId="0" sldId="2147484100"/>
              <pc:sldLayoutMk cId="2247168808" sldId="2147484155"/>
              <ac:spMk id="10" creationId="{500216DA-1BF6-4223-96B9-F6503511A3E6}"/>
            </ac:spMkLst>
          </pc:spChg>
          <pc:spChg chg="mod">
            <ac:chgData name="Stening, Rieke (FLE ST&amp;MK)" userId="2acedbd6-4e32-4189-8070-66b02d48ac7c" providerId="ADAL" clId="{6B35011F-C707-4FC5-AB53-E4E95E83C996}" dt="2021-01-27T07:22:38.584" v="114" actId="108"/>
            <ac:spMkLst>
              <pc:docMk/>
              <pc:sldMasterMk cId="0" sldId="2147484100"/>
              <pc:sldLayoutMk cId="2247168808" sldId="2147484155"/>
              <ac:spMk id="11" creationId="{886E041B-40E2-4EEB-9DC9-C4D7B6D7CBD7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6"/>
          <p:cNvSpPr>
            <a:spLocks noChangeArrowheads="1"/>
          </p:cNvSpPr>
          <p:nvPr/>
        </p:nvSpPr>
        <p:spPr bwMode="auto">
          <a:xfrm>
            <a:off x="0" y="0"/>
            <a:ext cx="6400800" cy="800100"/>
          </a:xfrm>
          <a:prstGeom prst="rect">
            <a:avLst/>
          </a:prstGeom>
          <a:solidFill>
            <a:srgbClr val="879BA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1" tIns="45715" rIns="91431" bIns="45715" anchor="ctr"/>
          <a:lstStyle>
            <a:lvl1pPr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eaLnBrk="1" hangingPunct="1">
              <a:defRPr/>
            </a:pPr>
            <a:endParaRPr lang="de-DE" alt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30525" cy="633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35" tIns="148535" rIns="148535" bIns="148535" numCol="1" anchor="t" anchorCtr="0" compatLnSpc="1">
            <a:prstTxWarp prst="textNoShape">
              <a:avLst/>
            </a:prstTxWarp>
          </a:bodyPr>
          <a:lstStyle>
            <a:lvl1pPr defTabSz="942880">
              <a:spcBef>
                <a:spcPct val="0"/>
              </a:spcBef>
              <a:defRPr sz="1200">
                <a:solidFill>
                  <a:schemeClr val="bg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470275" y="0"/>
            <a:ext cx="2930525" cy="633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35" tIns="148535" rIns="148535" bIns="148535" numCol="1" anchor="t" anchorCtr="0" compatLnSpc="1">
            <a:prstTxWarp prst="textNoShape">
              <a:avLst/>
            </a:prstTxWarp>
          </a:bodyPr>
          <a:lstStyle>
            <a:lvl1pPr algn="r" defTabSz="942880">
              <a:spcBef>
                <a:spcPct val="0"/>
              </a:spcBef>
              <a:defRPr sz="1200">
                <a:solidFill>
                  <a:schemeClr val="bg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11098213"/>
            <a:ext cx="2930525" cy="63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35" tIns="148535" rIns="148535" bIns="148535" numCol="1" anchor="b" anchorCtr="0" compatLnSpc="1">
            <a:prstTxWarp prst="textNoShape">
              <a:avLst/>
            </a:prstTxWarp>
          </a:bodyPr>
          <a:lstStyle>
            <a:lvl1pPr defTabSz="94288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470275" y="11098213"/>
            <a:ext cx="2930525" cy="63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35" tIns="148535" rIns="148535" bIns="148535" numCol="1" anchor="b" anchorCtr="0" compatLnSpc="1">
            <a:prstTxWarp prst="textNoShape">
              <a:avLst/>
            </a:prstTxWarp>
          </a:bodyPr>
          <a:lstStyle>
            <a:lvl1pPr algn="r" defTabSz="94288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de-DE"/>
              <a:t>Handzettel </a:t>
            </a:r>
            <a:fld id="{F0F88EF9-1F2D-4D6E-9901-9B111CC3BF3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65091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30525" cy="633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35" tIns="148535" rIns="148535" bIns="148535" numCol="1" anchor="t" anchorCtr="0" compatLnSpc="1">
            <a:prstTxWarp prst="textNoShape">
              <a:avLst/>
            </a:prstTxWarp>
          </a:bodyPr>
          <a:lstStyle>
            <a:lvl1pPr defTabSz="94288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470275" y="0"/>
            <a:ext cx="2928938" cy="633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35" tIns="148535" rIns="148535" bIns="148535" numCol="1" anchor="t" anchorCtr="0" compatLnSpc="1">
            <a:prstTxWarp prst="textNoShape">
              <a:avLst/>
            </a:prstTxWarp>
          </a:bodyPr>
          <a:lstStyle>
            <a:lvl1pPr algn="r" defTabSz="94288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709613" y="881063"/>
            <a:ext cx="7820026" cy="43973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14313" y="5527675"/>
            <a:ext cx="5972175" cy="523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11098213"/>
            <a:ext cx="2930525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35" tIns="148535" rIns="148535" bIns="148535" numCol="1" anchor="b" anchorCtr="0" compatLnSpc="1">
            <a:prstTxWarp prst="textNoShape">
              <a:avLst/>
            </a:prstTxWarp>
          </a:bodyPr>
          <a:lstStyle>
            <a:lvl1pPr defTabSz="94288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470275" y="11098213"/>
            <a:ext cx="2928938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35" tIns="148535" rIns="148535" bIns="148535" numCol="1" anchor="b" anchorCtr="0" compatLnSpc="1">
            <a:prstTxWarp prst="textNoShape">
              <a:avLst/>
            </a:prstTxWarp>
          </a:bodyPr>
          <a:lstStyle>
            <a:lvl1pPr algn="r" defTabSz="94288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de-DE"/>
              <a:t>Notizen </a:t>
            </a:r>
            <a:fld id="{7F2578D5-964F-40D5-B2C7-2AFFFBCEA2D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601354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ＭＳ Ｐゴシック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ＭＳ Ｐゴシック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ＭＳ Ｐゴシック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ＭＳ Ｐゴシック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ＭＳ Ｐゴシック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Notizen </a:t>
            </a:r>
            <a:fld id="{7F2578D5-964F-40D5-B2C7-2AFFFBCEA2DD}" type="slidenum">
              <a:rPr lang="de-DE" smtClean="0"/>
              <a:pPr>
                <a:defRPr/>
              </a:pPr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37058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Notizen </a:t>
            </a:r>
            <a:fld id="{7F2578D5-964F-40D5-B2C7-2AFFFBCEA2DD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22538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1.wmf"/><Relationship Id="rId4" Type="http://schemas.microsoft.com/office/2007/relationships/hdphoto" Target="../media/hdphoto1.wdp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1.wmf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Variante 1_Bildausschni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69107" y="1481138"/>
            <a:ext cx="11257756" cy="29088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>
              <a:defRPr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noProof="0" dirty="0"/>
              <a:t>Bild durch Klicken auf Symbol hinzufüg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65138" y="4630738"/>
            <a:ext cx="11261725" cy="1544637"/>
          </a:xfrm>
          <a:prstGeom prst="rect">
            <a:avLst/>
          </a:prstGeom>
        </p:spPr>
        <p:txBody>
          <a:bodyPr/>
          <a:lstStyle>
            <a:lvl1pPr>
              <a:defRPr sz="3200" baseline="0">
                <a:solidFill>
                  <a:srgbClr val="227CC6"/>
                </a:solidFill>
              </a:defRPr>
            </a:lvl1pPr>
            <a:lvl2pPr marL="1588" indent="0">
              <a:buFontTx/>
              <a:buNone/>
              <a:defRPr sz="1600" baseline="0">
                <a:solidFill>
                  <a:srgbClr val="697075"/>
                </a:solidFill>
              </a:defRPr>
            </a:lvl2pPr>
          </a:lstStyle>
          <a:p>
            <a:r>
              <a:rPr lang="de-DE" altLang="de-DE" dirty="0"/>
              <a:t>TITEL IN GROSSBUCHSTABEN MAX. ZWEIZEILIG</a:t>
            </a:r>
          </a:p>
        </p:txBody>
      </p:sp>
      <p:pic>
        <p:nvPicPr>
          <p:cNvPr id="9" name="Picture 2" descr="C:\Users\Romen-Agentur\Desktop\FL-Logo-RGB-office.wmf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06000" y="419100"/>
            <a:ext cx="1526400" cy="245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47">
            <a:extLst>
              <a:ext uri="{FF2B5EF4-FFF2-40B4-BE49-F238E27FC236}">
                <a16:creationId xmlns:a16="http://schemas.microsoft.com/office/drawing/2014/main" id="{6544531D-7A55-4C7F-85CA-E2DA171F8C7D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rgbClr val="69707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913032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und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/>
          <p:cNvSpPr>
            <a:spLocks noGrp="1"/>
          </p:cNvSpPr>
          <p:nvPr>
            <p:ph type="body" sz="quarter" idx="27" hasCustomPrompt="1"/>
          </p:nvPr>
        </p:nvSpPr>
        <p:spPr>
          <a:xfrm>
            <a:off x="463111" y="3774585"/>
            <a:ext cx="2646000" cy="2487959"/>
          </a:xfrm>
          <a:prstGeom prst="rect">
            <a:avLst/>
          </a:prstGeom>
        </p:spPr>
        <p:txBody>
          <a:bodyPr lIns="0" tIns="0" rIns="0" bIns="0"/>
          <a:lstStyle>
            <a:lvl1pPr marL="144000" indent="-144000">
              <a:buClr>
                <a:schemeClr val="tx2"/>
              </a:buClr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</a:defRPr>
            </a:lvl1pPr>
            <a:lvl2pPr>
              <a:buClr>
                <a:srgbClr val="227DC6"/>
              </a:buClr>
              <a:defRPr sz="1600"/>
            </a:lvl2pPr>
            <a:lvl3pPr>
              <a:buClr>
                <a:srgbClr val="227DC6"/>
              </a:buClr>
              <a:defRPr sz="1600"/>
            </a:lvl3pPr>
            <a:lvl4pPr>
              <a:buClr>
                <a:srgbClr val="227DC6"/>
              </a:buClr>
              <a:defRPr sz="1600"/>
            </a:lvl4pPr>
            <a:lvl5pPr>
              <a:buClr>
                <a:srgbClr val="227DC6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4" name="Textplatzhalter 20"/>
          <p:cNvSpPr>
            <a:spLocks noGrp="1"/>
          </p:cNvSpPr>
          <p:nvPr>
            <p:ph type="body" sz="quarter" idx="23"/>
          </p:nvPr>
        </p:nvSpPr>
        <p:spPr>
          <a:xfrm>
            <a:off x="465138" y="2967732"/>
            <a:ext cx="2646000" cy="591318"/>
          </a:xfrm>
          <a:prstGeom prst="rect">
            <a:avLst/>
          </a:prstGeom>
          <a:solidFill>
            <a:srgbClr val="227DC6"/>
          </a:solidFill>
        </p:spPr>
        <p:txBody>
          <a:bodyPr tIns="0" bIns="0" anchor="ctr" anchorCtr="0"/>
          <a:lstStyle>
            <a:lvl1pPr algn="ctr">
              <a:defRPr sz="1600" b="1">
                <a:solidFill>
                  <a:srgbClr val="FFFFFF"/>
                </a:solidFill>
              </a:defRPr>
            </a:lvl1pPr>
            <a:lvl2pPr>
              <a:buClr>
                <a:srgbClr val="227DC6"/>
              </a:buClr>
              <a:defRPr sz="1400"/>
            </a:lvl2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20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31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5139" y="1481139"/>
            <a:ext cx="2645810" cy="1488268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</p:txBody>
      </p:sp>
      <p:sp>
        <p:nvSpPr>
          <p:cNvPr id="38" name="Textplatzhalter 18"/>
          <p:cNvSpPr>
            <a:spLocks noGrp="1"/>
          </p:cNvSpPr>
          <p:nvPr>
            <p:ph type="body" sz="quarter" idx="35"/>
          </p:nvPr>
        </p:nvSpPr>
        <p:spPr>
          <a:xfrm>
            <a:off x="3337046" y="3774585"/>
            <a:ext cx="2646000" cy="2400790"/>
          </a:xfrm>
          <a:prstGeom prst="rect">
            <a:avLst/>
          </a:prstGeom>
        </p:spPr>
        <p:txBody>
          <a:bodyPr lIns="0" tIns="0" rIns="0" bIns="0"/>
          <a:lstStyle>
            <a:lvl1pPr marL="144000" indent="-144000">
              <a:buClr>
                <a:schemeClr val="tx2"/>
              </a:buClr>
              <a:buFont typeface="Arial" panose="020B0604020202020204" pitchFamily="34" charset="0"/>
              <a:buChar char="•"/>
              <a:defRPr lang="de-DE" sz="160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Clr>
                <a:srgbClr val="227DC6"/>
              </a:buClr>
              <a:defRPr sz="1600"/>
            </a:lvl2pPr>
            <a:lvl3pPr>
              <a:buClr>
                <a:srgbClr val="227DC6"/>
              </a:buClr>
              <a:defRPr sz="1600"/>
            </a:lvl3pPr>
            <a:lvl4pPr>
              <a:buClr>
                <a:srgbClr val="227DC6"/>
              </a:buClr>
              <a:defRPr sz="1600"/>
            </a:lvl4pPr>
            <a:lvl5pPr>
              <a:buClr>
                <a:srgbClr val="227DC6"/>
              </a:buClr>
              <a:defRPr sz="1600"/>
            </a:lvl5pPr>
          </a:lstStyle>
          <a:p>
            <a:pPr marL="144000" lvl="0" indent="-1440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/>
              <a:t>Textmasterformat bearbeiten</a:t>
            </a:r>
          </a:p>
        </p:txBody>
      </p:sp>
      <p:sp>
        <p:nvSpPr>
          <p:cNvPr id="39" name="Textplatzhalter 20"/>
          <p:cNvSpPr>
            <a:spLocks noGrp="1"/>
          </p:cNvSpPr>
          <p:nvPr>
            <p:ph type="body" sz="quarter" idx="36"/>
          </p:nvPr>
        </p:nvSpPr>
        <p:spPr>
          <a:xfrm>
            <a:off x="3337046" y="2967732"/>
            <a:ext cx="2646000" cy="591317"/>
          </a:xfrm>
          <a:prstGeom prst="rect">
            <a:avLst/>
          </a:prstGeom>
          <a:solidFill>
            <a:srgbClr val="227DC6"/>
          </a:solidFill>
        </p:spPr>
        <p:txBody>
          <a:bodyPr tIns="0" bIns="0" anchor="ctr" anchorCtr="0"/>
          <a:lstStyle>
            <a:lvl1pPr algn="ctr">
              <a:defRPr sz="1600" b="1">
                <a:solidFill>
                  <a:srgbClr val="FFFFFF"/>
                </a:solidFill>
              </a:defRPr>
            </a:lvl1pPr>
            <a:lvl2pPr>
              <a:buClr>
                <a:srgbClr val="227DC6"/>
              </a:buClr>
              <a:defRPr sz="1400"/>
            </a:lvl2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0" name="Bildplatzhalter 7"/>
          <p:cNvSpPr>
            <a:spLocks noGrp="1"/>
          </p:cNvSpPr>
          <p:nvPr>
            <p:ph type="pic" sz="quarter" idx="37" hasCustomPrompt="1"/>
          </p:nvPr>
        </p:nvSpPr>
        <p:spPr>
          <a:xfrm>
            <a:off x="3337047" y="1481139"/>
            <a:ext cx="2645810" cy="1488268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</p:txBody>
      </p:sp>
      <p:sp>
        <p:nvSpPr>
          <p:cNvPr id="41" name="Textplatzhalter 18"/>
          <p:cNvSpPr>
            <a:spLocks noGrp="1"/>
          </p:cNvSpPr>
          <p:nvPr>
            <p:ph type="body" sz="quarter" idx="38"/>
          </p:nvPr>
        </p:nvSpPr>
        <p:spPr>
          <a:xfrm>
            <a:off x="6208954" y="3774585"/>
            <a:ext cx="2646000" cy="2400790"/>
          </a:xfrm>
          <a:prstGeom prst="rect">
            <a:avLst/>
          </a:prstGeom>
        </p:spPr>
        <p:txBody>
          <a:bodyPr lIns="0" tIns="0" rIns="0" bIns="0"/>
          <a:lstStyle>
            <a:lvl1pPr marL="144000" indent="-144000">
              <a:buClr>
                <a:schemeClr val="tx2"/>
              </a:buClr>
              <a:buFont typeface="Arial" panose="020B0604020202020204" pitchFamily="34" charset="0"/>
              <a:buChar char="•"/>
              <a:defRPr lang="de-DE" sz="160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Clr>
                <a:srgbClr val="227DC6"/>
              </a:buClr>
              <a:defRPr sz="1600"/>
            </a:lvl2pPr>
            <a:lvl3pPr>
              <a:buClr>
                <a:srgbClr val="227DC6"/>
              </a:buClr>
              <a:defRPr sz="1600"/>
            </a:lvl3pPr>
            <a:lvl4pPr>
              <a:buClr>
                <a:srgbClr val="227DC6"/>
              </a:buClr>
              <a:defRPr sz="1600"/>
            </a:lvl4pPr>
            <a:lvl5pPr>
              <a:buClr>
                <a:srgbClr val="227DC6"/>
              </a:buClr>
              <a:defRPr sz="1600"/>
            </a:lvl5pPr>
          </a:lstStyle>
          <a:p>
            <a:pPr marL="144000" lvl="0" indent="-1440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/>
              <a:t>Textmasterformat bearbeiten</a:t>
            </a:r>
          </a:p>
        </p:txBody>
      </p:sp>
      <p:sp>
        <p:nvSpPr>
          <p:cNvPr id="42" name="Textplatzhalter 20"/>
          <p:cNvSpPr>
            <a:spLocks noGrp="1"/>
          </p:cNvSpPr>
          <p:nvPr>
            <p:ph type="body" sz="quarter" idx="39"/>
          </p:nvPr>
        </p:nvSpPr>
        <p:spPr>
          <a:xfrm>
            <a:off x="6208954" y="2967733"/>
            <a:ext cx="2646000" cy="591316"/>
          </a:xfrm>
          <a:prstGeom prst="rect">
            <a:avLst/>
          </a:prstGeom>
          <a:solidFill>
            <a:srgbClr val="227DC6"/>
          </a:solidFill>
        </p:spPr>
        <p:txBody>
          <a:bodyPr tIns="0" bIns="0" anchor="ctr" anchorCtr="0"/>
          <a:lstStyle>
            <a:lvl1pPr algn="ctr">
              <a:defRPr sz="1600" b="1">
                <a:solidFill>
                  <a:srgbClr val="FFFFFF"/>
                </a:solidFill>
              </a:defRPr>
            </a:lvl1pPr>
            <a:lvl2pPr>
              <a:buClr>
                <a:srgbClr val="227DC6"/>
              </a:buClr>
              <a:defRPr sz="1400"/>
            </a:lvl2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3" name="Bildplatzhalter 7"/>
          <p:cNvSpPr>
            <a:spLocks noGrp="1"/>
          </p:cNvSpPr>
          <p:nvPr>
            <p:ph type="pic" sz="quarter" idx="40" hasCustomPrompt="1"/>
          </p:nvPr>
        </p:nvSpPr>
        <p:spPr>
          <a:xfrm>
            <a:off x="6208955" y="1481139"/>
            <a:ext cx="2645810" cy="1488268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</p:txBody>
      </p:sp>
      <p:sp>
        <p:nvSpPr>
          <p:cNvPr id="44" name="Textplatzhalter 18"/>
          <p:cNvSpPr>
            <a:spLocks noGrp="1"/>
          </p:cNvSpPr>
          <p:nvPr>
            <p:ph type="body" sz="quarter" idx="41"/>
          </p:nvPr>
        </p:nvSpPr>
        <p:spPr>
          <a:xfrm>
            <a:off x="9080863" y="3774585"/>
            <a:ext cx="2646000" cy="2400790"/>
          </a:xfrm>
          <a:prstGeom prst="rect">
            <a:avLst/>
          </a:prstGeom>
        </p:spPr>
        <p:txBody>
          <a:bodyPr lIns="0" tIns="0" rIns="0" bIns="0"/>
          <a:lstStyle>
            <a:lvl1pPr marL="144000" indent="-144000">
              <a:buClr>
                <a:schemeClr val="tx2"/>
              </a:buClr>
              <a:buFont typeface="Arial" panose="020B0604020202020204" pitchFamily="34" charset="0"/>
              <a:buChar char="•"/>
              <a:defRPr lang="de-DE" sz="160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Clr>
                <a:srgbClr val="227DC6"/>
              </a:buClr>
              <a:defRPr sz="1600"/>
            </a:lvl2pPr>
            <a:lvl3pPr>
              <a:buClr>
                <a:srgbClr val="227DC6"/>
              </a:buClr>
              <a:defRPr sz="1600"/>
            </a:lvl3pPr>
            <a:lvl4pPr>
              <a:buClr>
                <a:srgbClr val="227DC6"/>
              </a:buClr>
              <a:defRPr sz="1600"/>
            </a:lvl4pPr>
            <a:lvl5pPr>
              <a:buClr>
                <a:srgbClr val="227DC6"/>
              </a:buClr>
              <a:defRPr sz="1600"/>
            </a:lvl5pPr>
          </a:lstStyle>
          <a:p>
            <a:pPr marL="144000" lvl="0" indent="-1440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/>
              <a:t>Textmasterformat bearbeiten</a:t>
            </a:r>
          </a:p>
        </p:txBody>
      </p:sp>
      <p:sp>
        <p:nvSpPr>
          <p:cNvPr id="45" name="Textplatzhalter 20"/>
          <p:cNvSpPr>
            <a:spLocks noGrp="1"/>
          </p:cNvSpPr>
          <p:nvPr>
            <p:ph type="body" sz="quarter" idx="42"/>
          </p:nvPr>
        </p:nvSpPr>
        <p:spPr>
          <a:xfrm>
            <a:off x="9080863" y="2967732"/>
            <a:ext cx="2646000" cy="591317"/>
          </a:xfrm>
          <a:prstGeom prst="rect">
            <a:avLst/>
          </a:prstGeom>
          <a:solidFill>
            <a:srgbClr val="227DC6"/>
          </a:solidFill>
        </p:spPr>
        <p:txBody>
          <a:bodyPr tIns="0" bIns="0" anchor="ctr" anchorCtr="0"/>
          <a:lstStyle>
            <a:lvl1pPr algn="ctr">
              <a:defRPr sz="1600" b="1">
                <a:solidFill>
                  <a:srgbClr val="FFFFFF"/>
                </a:solidFill>
              </a:defRPr>
            </a:lvl1pPr>
            <a:lvl2pPr>
              <a:buClr>
                <a:srgbClr val="227DC6"/>
              </a:buClr>
              <a:defRPr sz="1400"/>
            </a:lvl2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6" name="Bildplatzhalter 7"/>
          <p:cNvSpPr>
            <a:spLocks noGrp="1"/>
          </p:cNvSpPr>
          <p:nvPr>
            <p:ph type="pic" sz="quarter" idx="43" hasCustomPrompt="1"/>
          </p:nvPr>
        </p:nvSpPr>
        <p:spPr>
          <a:xfrm>
            <a:off x="9080864" y="1481140"/>
            <a:ext cx="2645810" cy="1488268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</p:txBody>
      </p:sp>
      <p:sp>
        <p:nvSpPr>
          <p:cNvPr id="15" name="Rectangle 47">
            <a:extLst>
              <a:ext uri="{FF2B5EF4-FFF2-40B4-BE49-F238E27FC236}">
                <a16:creationId xmlns:a16="http://schemas.microsoft.com/office/drawing/2014/main" id="{5DCD03E8-E10C-4756-A36A-C4437B99BDD6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26309553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4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30523" y="1354263"/>
            <a:ext cx="11289989" cy="4821112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lnSpc>
                <a:spcPct val="125000"/>
              </a:lnSpc>
              <a:buClr>
                <a:srgbClr val="227DC6"/>
              </a:buClr>
              <a:buSzPct val="120000"/>
              <a:buFont typeface="Wingdings" panose="05000000000000000000" pitchFamily="2" charset="2"/>
              <a:buChar char="§"/>
              <a:defRPr sz="1800" baseline="0">
                <a:solidFill>
                  <a:srgbClr val="000000"/>
                </a:solidFill>
              </a:defRPr>
            </a:lvl1pPr>
            <a:lvl2pPr>
              <a:defRPr sz="1800"/>
            </a:lvl2pPr>
            <a:lvl3pPr marL="444500" indent="-176213">
              <a:lnSpc>
                <a:spcPct val="125000"/>
              </a:lnSpc>
              <a:buClr>
                <a:srgbClr val="227DC6"/>
              </a:buClr>
              <a:buSzPct val="11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Aufzählungspunkt durch Klicken hinzufügen</a:t>
            </a:r>
          </a:p>
          <a:p>
            <a:pPr lvl="0"/>
            <a:r>
              <a:rPr lang="de-DE" dirty="0"/>
              <a:t>Aufzählung</a:t>
            </a:r>
          </a:p>
          <a:p>
            <a:pPr lvl="2"/>
            <a:r>
              <a:rPr lang="de-DE" dirty="0"/>
              <a:t>Unterpunkt</a:t>
            </a:r>
          </a:p>
          <a:p>
            <a:pPr lvl="0"/>
            <a:r>
              <a:rPr lang="de-DE" dirty="0"/>
              <a:t>Aufzählung</a:t>
            </a:r>
          </a:p>
          <a:p>
            <a:pPr lvl="2"/>
            <a:r>
              <a:rPr lang="de-DE" dirty="0"/>
              <a:t>Unterpunkt</a:t>
            </a:r>
          </a:p>
          <a:p>
            <a:pPr lvl="2"/>
            <a:r>
              <a:rPr lang="de-DE" dirty="0"/>
              <a:t>Unterpunkt</a:t>
            </a:r>
          </a:p>
        </p:txBody>
      </p:sp>
      <p:sp>
        <p:nvSpPr>
          <p:cNvPr id="5" name="Rectangle 47">
            <a:extLst>
              <a:ext uri="{FF2B5EF4-FFF2-40B4-BE49-F238E27FC236}">
                <a16:creationId xmlns:a16="http://schemas.microsoft.com/office/drawing/2014/main" id="{A349DFB4-BBDE-4333-9D2A-EB1BDEFF349D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29228942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(ein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69899" y="1429784"/>
            <a:ext cx="11253399" cy="4745592"/>
          </a:xfrm>
          <a:prstGeom prst="rect">
            <a:avLst/>
          </a:prstGeom>
        </p:spPr>
        <p:txBody>
          <a:bodyPr lIns="0" tIns="0" rIns="0" bIns="0" numCol="1" spcCol="270000"/>
          <a:lstStyle>
            <a:lvl1pPr>
              <a:defRPr sz="1600" baseline="0">
                <a:solidFill>
                  <a:srgbClr val="00000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Text durch Klicken hinzufügen (einspaltig)</a:t>
            </a:r>
          </a:p>
        </p:txBody>
      </p:sp>
      <p:sp>
        <p:nvSpPr>
          <p:cNvPr id="7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4" name="Rectangle 47">
            <a:extLst>
              <a:ext uri="{FF2B5EF4-FFF2-40B4-BE49-F238E27FC236}">
                <a16:creationId xmlns:a16="http://schemas.microsoft.com/office/drawing/2014/main" id="{D7BF2123-843C-44AD-9B4F-966D737ACAA6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18445592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69899" y="1429784"/>
            <a:ext cx="11253399" cy="4745592"/>
          </a:xfrm>
          <a:prstGeom prst="rect">
            <a:avLst/>
          </a:prstGeom>
        </p:spPr>
        <p:txBody>
          <a:bodyPr lIns="0" tIns="0" rIns="0" bIns="0" numCol="2" spcCol="270000"/>
          <a:lstStyle>
            <a:lvl1pPr>
              <a:defRPr sz="1600" baseline="0">
                <a:solidFill>
                  <a:srgbClr val="00000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Text durch Klicken hinzufügen (zweispaltig)</a:t>
            </a:r>
          </a:p>
        </p:txBody>
      </p:sp>
      <p:sp>
        <p:nvSpPr>
          <p:cNvPr id="7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4" name="Rectangle 47">
            <a:extLst>
              <a:ext uri="{FF2B5EF4-FFF2-40B4-BE49-F238E27FC236}">
                <a16:creationId xmlns:a16="http://schemas.microsoft.com/office/drawing/2014/main" id="{FD1F4314-D48C-43FA-9204-8B90DD51648E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35440385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_L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38149" y="1366837"/>
            <a:ext cx="11282364" cy="4808537"/>
          </a:xfrm>
          <a:prstGeom prst="rect">
            <a:avLst/>
          </a:prstGeom>
        </p:spPr>
        <p:txBody>
          <a:bodyPr lIns="0" tIns="0" rIns="0" bIns="0" numCol="2" spcCol="270000"/>
          <a:lstStyle>
            <a:lvl1pPr marL="252000" indent="-252000">
              <a:lnSpc>
                <a:spcPct val="125000"/>
              </a:lnSpc>
              <a:buClr>
                <a:srgbClr val="227DC6"/>
              </a:buClr>
              <a:buSzPct val="120000"/>
              <a:buFont typeface="Wingdings" panose="05000000000000000000" pitchFamily="2" charset="2"/>
              <a:buChar char="§"/>
              <a:defRPr sz="1800" baseline="0">
                <a:solidFill>
                  <a:srgbClr val="000000"/>
                </a:solidFill>
              </a:defRPr>
            </a:lvl1pPr>
            <a:lvl2pPr>
              <a:defRPr sz="1800"/>
            </a:lvl2pPr>
            <a:lvl3pPr marL="444500" indent="-176213">
              <a:lnSpc>
                <a:spcPct val="125000"/>
              </a:lnSpc>
              <a:buClr>
                <a:srgbClr val="227DC6"/>
              </a:buClr>
              <a:buSzPct val="11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Aufzählung 1</a:t>
            </a:r>
          </a:p>
          <a:p>
            <a:pPr lvl="2"/>
            <a:r>
              <a:rPr lang="de-DE" dirty="0"/>
              <a:t>Unterpunkt 1</a:t>
            </a:r>
          </a:p>
          <a:p>
            <a:pPr lvl="0"/>
            <a:r>
              <a:rPr lang="de-DE" dirty="0"/>
              <a:t>Aufzählung 2</a:t>
            </a:r>
          </a:p>
          <a:p>
            <a:pPr lvl="2"/>
            <a:r>
              <a:rPr lang="de-DE" dirty="0"/>
              <a:t>Unterpunkt 1</a:t>
            </a:r>
          </a:p>
          <a:p>
            <a:pPr lvl="2"/>
            <a:endParaRPr lang="de-DE" dirty="0"/>
          </a:p>
        </p:txBody>
      </p:sp>
      <p:sp>
        <p:nvSpPr>
          <p:cNvPr id="7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4" name="Rectangle 47">
            <a:extLst>
              <a:ext uri="{FF2B5EF4-FFF2-40B4-BE49-F238E27FC236}">
                <a16:creationId xmlns:a16="http://schemas.microsoft.com/office/drawing/2014/main" id="{3285D3F5-BE0F-47D2-81AD-5C1B550EEBE9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40105214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n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3" name="Rectangle 47">
            <a:extLst>
              <a:ext uri="{FF2B5EF4-FFF2-40B4-BE49-F238E27FC236}">
                <a16:creationId xmlns:a16="http://schemas.microsoft.com/office/drawing/2014/main" id="{FD827737-CECF-4AF9-9AE3-7BDB8881695E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14887610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 mit Bild und Da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5151354" y="1481138"/>
            <a:ext cx="6575510" cy="4692650"/>
          </a:xfrm>
          <a:prstGeom prst="rect">
            <a:avLst/>
          </a:prstGeom>
        </p:spPr>
        <p:txBody>
          <a:bodyPr lIns="270000" tIns="0" rIns="0" bIns="0"/>
          <a:lstStyle>
            <a:lvl1pPr marL="0" indent="0">
              <a:buNone/>
              <a:defRPr sz="2400" baseline="0">
                <a:solidFill>
                  <a:srgbClr val="227CC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l">
              <a:buFont typeface="Arial" panose="020B0604020202020204" pitchFamily="34" charset="0"/>
              <a:buNone/>
              <a:defRPr sz="1600" baseline="0">
                <a:solidFill>
                  <a:srgbClr val="227CC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de-DE" dirty="0"/>
              <a:t>MAX MUSTERMANN</a:t>
            </a:r>
          </a:p>
          <a:p>
            <a:pPr lvl="1"/>
            <a:r>
              <a:rPr lang="de-DE" dirty="0"/>
              <a:t>Positionsbeschreibung</a:t>
            </a:r>
          </a:p>
          <a:p>
            <a:pPr lvl="1"/>
            <a:r>
              <a:rPr lang="de-DE" dirty="0"/>
              <a:t>Gruppe / Region / Abteilung XY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Straße</a:t>
            </a:r>
          </a:p>
          <a:p>
            <a:pPr lvl="1"/>
            <a:r>
              <a:rPr lang="de-DE" dirty="0"/>
              <a:t>PLZ / Ort</a:t>
            </a:r>
          </a:p>
          <a:p>
            <a:pPr lvl="1"/>
            <a:r>
              <a:rPr lang="de-DE" dirty="0"/>
              <a:t>Land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P +49 2871 92 1234</a:t>
            </a:r>
          </a:p>
          <a:p>
            <a:pPr lvl="1"/>
            <a:r>
              <a:rPr lang="de-DE" dirty="0"/>
              <a:t>M +49 152 1234 5678</a:t>
            </a:r>
          </a:p>
          <a:p>
            <a:pPr lvl="1"/>
            <a:r>
              <a:rPr lang="de-DE" dirty="0"/>
              <a:t>max.mustermann@flender.com</a:t>
            </a:r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r>
              <a:rPr lang="de-DE" dirty="0"/>
              <a:t>flender.com</a:t>
            </a:r>
          </a:p>
        </p:txBody>
      </p:sp>
      <p:sp>
        <p:nvSpPr>
          <p:cNvPr id="7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41910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000"/>
              </a:lnSpc>
              <a:buNone/>
              <a:defRPr sz="2800" baseline="0">
                <a:solidFill>
                  <a:srgbClr val="227CC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5138" y="1481138"/>
            <a:ext cx="4680000" cy="468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fr-FR" noProof="0" dirty="0"/>
              <a:t>Bild durch Klicken hinzufügen</a:t>
            </a:r>
          </a:p>
          <a:p>
            <a:pPr lvl="0"/>
            <a:endParaRPr lang="fr-FR" noProof="0" dirty="0"/>
          </a:p>
        </p:txBody>
      </p:sp>
      <p:pic>
        <p:nvPicPr>
          <p:cNvPr id="9" name="Picture 2" descr="C:\Users\Romen-Agentur\Desktop\FL-Logo-RGB-office.wmf">
            <a:extLst>
              <a:ext uri="{FF2B5EF4-FFF2-40B4-BE49-F238E27FC236}">
                <a16:creationId xmlns:a16="http://schemas.microsoft.com/office/drawing/2014/main" id="{5CDB0EA3-918D-4A1F-89C6-0016A0EB468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06000" y="419100"/>
            <a:ext cx="1526400" cy="245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7036FDA9-5FFF-4D21-A31A-03344B5015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26864" y="5268708"/>
            <a:ext cx="1800000" cy="905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638C7FA6-63CA-4ABB-AC36-78655AE3B00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8522" y="5525652"/>
            <a:ext cx="584226" cy="584226"/>
          </a:xfrm>
          <a:prstGeom prst="rect">
            <a:avLst/>
          </a:prstGeom>
        </p:spPr>
      </p:pic>
      <p:pic>
        <p:nvPicPr>
          <p:cNvPr id="17" name="Picture 4" descr="Linkedin Logo | The most famous brands and company logos in the world">
            <a:extLst>
              <a:ext uri="{FF2B5EF4-FFF2-40B4-BE49-F238E27FC236}">
                <a16:creationId xmlns:a16="http://schemas.microsoft.com/office/drawing/2014/main" id="{58A43548-6BEA-4C4C-B815-9251EEBA9C5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3301" t="26029" r="394" b="26029"/>
          <a:stretch/>
        </p:blipFill>
        <p:spPr bwMode="auto">
          <a:xfrm>
            <a:off x="6972288" y="5498531"/>
            <a:ext cx="643180" cy="656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47">
            <a:extLst>
              <a:ext uri="{FF2B5EF4-FFF2-40B4-BE49-F238E27FC236}">
                <a16:creationId xmlns:a16="http://schemas.microsoft.com/office/drawing/2014/main" id="{81563465-38FB-4DFD-BE08-54BE74D58845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rgbClr val="69707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23006274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3">
            <a:extLst>
              <a:ext uri="{FF2B5EF4-FFF2-40B4-BE49-F238E27FC236}">
                <a16:creationId xmlns:a16="http://schemas.microsoft.com/office/drawing/2014/main" id="{AAB74DF6-C7FB-464D-89EB-4E92034B31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7" t="12583" r="107" b="21609"/>
          <a:stretch/>
        </p:blipFill>
        <p:spPr bwMode="auto">
          <a:xfrm>
            <a:off x="465138" y="1376218"/>
            <a:ext cx="11267262" cy="4952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object 37">
            <a:extLst>
              <a:ext uri="{FF2B5EF4-FFF2-40B4-BE49-F238E27FC236}">
                <a16:creationId xmlns:a16="http://schemas.microsoft.com/office/drawing/2014/main" id="{8E74174B-F8A1-4D36-80AA-C786833C065F}"/>
              </a:ext>
            </a:extLst>
          </p:cNvPr>
          <p:cNvSpPr txBox="1"/>
          <p:nvPr userDrawn="1"/>
        </p:nvSpPr>
        <p:spPr>
          <a:xfrm>
            <a:off x="561474" y="2355078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2000" tIns="72000" rIns="72000" bIns="72000" rtlCol="0" anchor="ctr">
            <a:noAutofit/>
          </a:bodyPr>
          <a:lstStyle>
            <a:defPPr>
              <a:defRPr lang="de-DE"/>
            </a:defPPr>
            <a:lvl1pPr lvl="0">
              <a:defRPr sz="1400" b="1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. XXX</a:t>
            </a:r>
          </a:p>
        </p:txBody>
      </p:sp>
      <p:sp>
        <p:nvSpPr>
          <p:cNvPr id="6" name="object 40">
            <a:extLst>
              <a:ext uri="{FF2B5EF4-FFF2-40B4-BE49-F238E27FC236}">
                <a16:creationId xmlns:a16="http://schemas.microsoft.com/office/drawing/2014/main" id="{8B6269C5-9E4C-4214-AA9D-6281944E68B2}"/>
              </a:ext>
            </a:extLst>
          </p:cNvPr>
          <p:cNvSpPr txBox="1"/>
          <p:nvPr userDrawn="1"/>
        </p:nvSpPr>
        <p:spPr>
          <a:xfrm>
            <a:off x="561474" y="2855348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2000" tIns="72000" rIns="72000" bIns="72000" rtlCol="0" anchor="ctr">
            <a:noAutofit/>
          </a:bodyPr>
          <a:lstStyle>
            <a:defPPr>
              <a:defRPr lang="de-DE"/>
            </a:defPPr>
            <a:lvl1pPr lvl="0">
              <a:defRPr sz="1400" b="1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3. XXX</a:t>
            </a:r>
          </a:p>
        </p:txBody>
      </p:sp>
      <p:sp>
        <p:nvSpPr>
          <p:cNvPr id="7" name="object 43">
            <a:extLst>
              <a:ext uri="{FF2B5EF4-FFF2-40B4-BE49-F238E27FC236}">
                <a16:creationId xmlns:a16="http://schemas.microsoft.com/office/drawing/2014/main" id="{F26B83CB-904B-411D-A39B-608AD4CE5444}"/>
              </a:ext>
            </a:extLst>
          </p:cNvPr>
          <p:cNvSpPr txBox="1"/>
          <p:nvPr userDrawn="1"/>
        </p:nvSpPr>
        <p:spPr>
          <a:xfrm>
            <a:off x="561474" y="3855888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2000" tIns="72000" rIns="72000" bIns="7200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5. XXX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" name="object 46">
            <a:extLst>
              <a:ext uri="{FF2B5EF4-FFF2-40B4-BE49-F238E27FC236}">
                <a16:creationId xmlns:a16="http://schemas.microsoft.com/office/drawing/2014/main" id="{076B3F33-4D74-47C6-AC37-4AD05BD30228}"/>
              </a:ext>
            </a:extLst>
          </p:cNvPr>
          <p:cNvSpPr txBox="1"/>
          <p:nvPr userDrawn="1"/>
        </p:nvSpPr>
        <p:spPr>
          <a:xfrm>
            <a:off x="561474" y="4356158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2000" tIns="72000" rIns="72000" bIns="7200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6. XXX  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" name="object 52">
            <a:extLst>
              <a:ext uri="{FF2B5EF4-FFF2-40B4-BE49-F238E27FC236}">
                <a16:creationId xmlns:a16="http://schemas.microsoft.com/office/drawing/2014/main" id="{D3442179-722C-49C1-A17E-554EBEFA98A9}"/>
              </a:ext>
            </a:extLst>
          </p:cNvPr>
          <p:cNvSpPr txBox="1"/>
          <p:nvPr userDrawn="1"/>
        </p:nvSpPr>
        <p:spPr>
          <a:xfrm>
            <a:off x="561474" y="3355618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2000" tIns="72000" rIns="72000" bIns="7200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4. XXX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" name="object 37">
            <a:extLst>
              <a:ext uri="{FF2B5EF4-FFF2-40B4-BE49-F238E27FC236}">
                <a16:creationId xmlns:a16="http://schemas.microsoft.com/office/drawing/2014/main" id="{886E041B-40E2-4EEB-9DC9-C4D7B6D7CBD7}"/>
              </a:ext>
            </a:extLst>
          </p:cNvPr>
          <p:cNvSpPr txBox="1"/>
          <p:nvPr userDrawn="1"/>
        </p:nvSpPr>
        <p:spPr>
          <a:xfrm>
            <a:off x="561474" y="1854808"/>
            <a:ext cx="11074590" cy="442593"/>
          </a:xfrm>
          <a:prstGeom prst="rect">
            <a:avLst/>
          </a:prstGeom>
          <a:solidFill>
            <a:srgbClr val="227DC6"/>
          </a:solidFill>
        </p:spPr>
        <p:txBody>
          <a:bodyPr vert="horz" wrap="square" lIns="324000" tIns="72000" rIns="72000" bIns="72000" rtlCol="0" anchor="ctr">
            <a:noAutofit/>
          </a:bodyPr>
          <a:lstStyle>
            <a:defPPr>
              <a:defRPr lang="de-DE"/>
            </a:defPPr>
            <a:lvl1pPr lvl="0">
              <a:defRPr sz="1400" b="1">
                <a:solidFill>
                  <a:schemeClr val="bg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1. XXX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61C3A5C9-B3DA-4A53-88D6-793BFB0F8CAD}"/>
              </a:ext>
            </a:extLst>
          </p:cNvPr>
          <p:cNvSpPr txBox="1">
            <a:spLocks/>
          </p:cNvSpPr>
          <p:nvPr userDrawn="1"/>
        </p:nvSpPr>
        <p:spPr>
          <a:xfrm>
            <a:off x="465138" y="41910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defRPr sz="2800" baseline="0">
                <a:solidFill>
                  <a:srgbClr val="227DC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588" indent="0" algn="l" rtl="0" eaLnBrk="0" fontAlgn="base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None/>
              <a:defRPr sz="1600">
                <a:solidFill>
                  <a:srgbClr val="69707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9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9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9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Clr>
                <a:srgbClr val="227DC6"/>
              </a:buClr>
              <a:buSzTx/>
              <a:buFont typeface="Arial" charset="0"/>
              <a:buNone/>
              <a:tabLst/>
              <a:defRPr/>
            </a:pPr>
            <a:r>
              <a:rPr kumimoji="0" lang="en-GB" sz="2800" b="0" i="0" u="none" strike="noStrike" kern="0" cap="none" spc="0" normalizeH="0" baseline="0" noProof="0">
                <a:ln>
                  <a:noFill/>
                </a:ln>
                <a:solidFill>
                  <a:srgbClr val="227DC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genda</a:t>
            </a:r>
            <a:endParaRPr kumimoji="0" lang="en-GB" sz="2800" b="0" i="0" u="none" strike="noStrike" kern="0" cap="none" spc="0" normalizeH="0" baseline="0" noProof="0" dirty="0">
              <a:ln>
                <a:noFill/>
              </a:ln>
              <a:solidFill>
                <a:srgbClr val="227DC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" name="Rectangle 47">
            <a:extLst>
              <a:ext uri="{FF2B5EF4-FFF2-40B4-BE49-F238E27FC236}">
                <a16:creationId xmlns:a16="http://schemas.microsoft.com/office/drawing/2014/main" id="{C9575FC4-5374-4B45-B4B1-3438D4E438B3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  <p:pic>
        <p:nvPicPr>
          <p:cNvPr id="16" name="Picture 2" descr="C:\Users\Romen-Agentur\Desktop\FL-Logo-RGB-office.wmf">
            <a:extLst>
              <a:ext uri="{FF2B5EF4-FFF2-40B4-BE49-F238E27FC236}">
                <a16:creationId xmlns:a16="http://schemas.microsoft.com/office/drawing/2014/main" id="{3E37EEDA-1AC6-43A0-8DC2-4A97869CCD8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6000" y="419100"/>
            <a:ext cx="1526400" cy="245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82475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3">
            <a:extLst>
              <a:ext uri="{FF2B5EF4-FFF2-40B4-BE49-F238E27FC236}">
                <a16:creationId xmlns:a16="http://schemas.microsoft.com/office/drawing/2014/main" id="{AAB74DF6-C7FB-464D-89EB-4E92034B31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7" t="12583" r="107" b="21609"/>
          <a:stretch/>
        </p:blipFill>
        <p:spPr bwMode="auto">
          <a:xfrm>
            <a:off x="465138" y="1376218"/>
            <a:ext cx="11267262" cy="4952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object 37">
            <a:extLst>
              <a:ext uri="{FF2B5EF4-FFF2-40B4-BE49-F238E27FC236}">
                <a16:creationId xmlns:a16="http://schemas.microsoft.com/office/drawing/2014/main" id="{8E74174B-F8A1-4D36-80AA-C786833C065F}"/>
              </a:ext>
            </a:extLst>
          </p:cNvPr>
          <p:cNvSpPr txBox="1"/>
          <p:nvPr userDrawn="1"/>
        </p:nvSpPr>
        <p:spPr>
          <a:xfrm>
            <a:off x="561474" y="2355078"/>
            <a:ext cx="11074590" cy="442593"/>
          </a:xfrm>
          <a:prstGeom prst="rect">
            <a:avLst/>
          </a:prstGeom>
          <a:solidFill>
            <a:srgbClr val="227DC6"/>
          </a:solidFill>
        </p:spPr>
        <p:txBody>
          <a:bodyPr vert="horz" wrap="square" lIns="324000" tIns="72000" rIns="72000" bIns="72000" rtlCol="0" anchor="ctr">
            <a:noAutofit/>
          </a:bodyPr>
          <a:lstStyle>
            <a:defPPr>
              <a:defRPr lang="de-DE"/>
            </a:defPPr>
            <a:lvl1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2. XXX</a:t>
            </a:r>
          </a:p>
        </p:txBody>
      </p:sp>
      <p:sp>
        <p:nvSpPr>
          <p:cNvPr id="6" name="object 40">
            <a:extLst>
              <a:ext uri="{FF2B5EF4-FFF2-40B4-BE49-F238E27FC236}">
                <a16:creationId xmlns:a16="http://schemas.microsoft.com/office/drawing/2014/main" id="{8B6269C5-9E4C-4214-AA9D-6281944E68B2}"/>
              </a:ext>
            </a:extLst>
          </p:cNvPr>
          <p:cNvSpPr txBox="1"/>
          <p:nvPr userDrawn="1"/>
        </p:nvSpPr>
        <p:spPr>
          <a:xfrm>
            <a:off x="561474" y="2855348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2000" tIns="72000" rIns="72000" bIns="72000" rtlCol="0" anchor="ctr">
            <a:noAutofit/>
          </a:bodyPr>
          <a:lstStyle>
            <a:defPPr>
              <a:defRPr lang="de-DE"/>
            </a:defPPr>
            <a:lvl1pPr lvl="0">
              <a:defRPr sz="1400" b="1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3. XXX</a:t>
            </a:r>
          </a:p>
        </p:txBody>
      </p:sp>
      <p:sp>
        <p:nvSpPr>
          <p:cNvPr id="7" name="object 43">
            <a:extLst>
              <a:ext uri="{FF2B5EF4-FFF2-40B4-BE49-F238E27FC236}">
                <a16:creationId xmlns:a16="http://schemas.microsoft.com/office/drawing/2014/main" id="{F26B83CB-904B-411D-A39B-608AD4CE5444}"/>
              </a:ext>
            </a:extLst>
          </p:cNvPr>
          <p:cNvSpPr txBox="1"/>
          <p:nvPr userDrawn="1"/>
        </p:nvSpPr>
        <p:spPr>
          <a:xfrm>
            <a:off x="561474" y="3855888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2000" tIns="72000" rIns="72000" bIns="7200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5. XXX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" name="object 46">
            <a:extLst>
              <a:ext uri="{FF2B5EF4-FFF2-40B4-BE49-F238E27FC236}">
                <a16:creationId xmlns:a16="http://schemas.microsoft.com/office/drawing/2014/main" id="{076B3F33-4D74-47C6-AC37-4AD05BD30228}"/>
              </a:ext>
            </a:extLst>
          </p:cNvPr>
          <p:cNvSpPr txBox="1"/>
          <p:nvPr userDrawn="1"/>
        </p:nvSpPr>
        <p:spPr>
          <a:xfrm>
            <a:off x="561474" y="4356158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2000" tIns="72000" rIns="72000" bIns="7200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6. XXX  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" name="object 52">
            <a:extLst>
              <a:ext uri="{FF2B5EF4-FFF2-40B4-BE49-F238E27FC236}">
                <a16:creationId xmlns:a16="http://schemas.microsoft.com/office/drawing/2014/main" id="{D3442179-722C-49C1-A17E-554EBEFA98A9}"/>
              </a:ext>
            </a:extLst>
          </p:cNvPr>
          <p:cNvSpPr txBox="1"/>
          <p:nvPr userDrawn="1"/>
        </p:nvSpPr>
        <p:spPr>
          <a:xfrm>
            <a:off x="561474" y="3355618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2000" tIns="72000" rIns="72000" bIns="7200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4. XXX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" name="object 37">
            <a:extLst>
              <a:ext uri="{FF2B5EF4-FFF2-40B4-BE49-F238E27FC236}">
                <a16:creationId xmlns:a16="http://schemas.microsoft.com/office/drawing/2014/main" id="{886E041B-40E2-4EEB-9DC9-C4D7B6D7CBD7}"/>
              </a:ext>
            </a:extLst>
          </p:cNvPr>
          <p:cNvSpPr txBox="1"/>
          <p:nvPr userDrawn="1"/>
        </p:nvSpPr>
        <p:spPr>
          <a:xfrm>
            <a:off x="561474" y="1854808"/>
            <a:ext cx="11074590" cy="442593"/>
          </a:xfrm>
          <a:prstGeom prst="rect">
            <a:avLst/>
          </a:prstGeom>
          <a:solidFill>
            <a:srgbClr val="E0ECFA"/>
          </a:solidFill>
        </p:spPr>
        <p:txBody>
          <a:bodyPr vert="horz" wrap="square" lIns="612000" tIns="72000" rIns="72000" bIns="72000" rtlCol="0" anchor="ctr">
            <a:noAutofit/>
          </a:bodyPr>
          <a:lstStyle>
            <a:defPPr>
              <a:defRPr lang="de-DE"/>
            </a:defPPr>
            <a:lvl1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 dirty="0"/>
              <a:t>1. XXX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61C3A5C9-B3DA-4A53-88D6-793BFB0F8CAD}"/>
              </a:ext>
            </a:extLst>
          </p:cNvPr>
          <p:cNvSpPr txBox="1">
            <a:spLocks/>
          </p:cNvSpPr>
          <p:nvPr userDrawn="1"/>
        </p:nvSpPr>
        <p:spPr>
          <a:xfrm>
            <a:off x="465138" y="41910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defRPr sz="2800" baseline="0">
                <a:solidFill>
                  <a:srgbClr val="227DC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588" indent="0" algn="l" rtl="0" eaLnBrk="0" fontAlgn="base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None/>
              <a:defRPr sz="1600">
                <a:solidFill>
                  <a:srgbClr val="69707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9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9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9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Clr>
                <a:srgbClr val="227DC6"/>
              </a:buClr>
              <a:buSzTx/>
              <a:buFont typeface="Arial" charset="0"/>
              <a:buNone/>
              <a:tabLst/>
              <a:defRPr/>
            </a:pPr>
            <a:r>
              <a:rPr kumimoji="0" lang="en-GB" sz="2800" b="0" i="0" u="none" strike="noStrike" kern="0" cap="none" spc="0" normalizeH="0" baseline="0" noProof="0">
                <a:ln>
                  <a:noFill/>
                </a:ln>
                <a:solidFill>
                  <a:srgbClr val="227DC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genda</a:t>
            </a:r>
            <a:endParaRPr kumimoji="0" lang="en-GB" sz="2800" b="0" i="0" u="none" strike="noStrike" kern="0" cap="none" spc="0" normalizeH="0" baseline="0" noProof="0" dirty="0">
              <a:ln>
                <a:noFill/>
              </a:ln>
              <a:solidFill>
                <a:srgbClr val="227DC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" name="Rectangle 47">
            <a:extLst>
              <a:ext uri="{FF2B5EF4-FFF2-40B4-BE49-F238E27FC236}">
                <a16:creationId xmlns:a16="http://schemas.microsoft.com/office/drawing/2014/main" id="{C9575FC4-5374-4B45-B4B1-3438D4E438B3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  <p:pic>
        <p:nvPicPr>
          <p:cNvPr id="16" name="Picture 2" descr="C:\Users\Romen-Agentur\Desktop\FL-Logo-RGB-office.wmf">
            <a:extLst>
              <a:ext uri="{FF2B5EF4-FFF2-40B4-BE49-F238E27FC236}">
                <a16:creationId xmlns:a16="http://schemas.microsoft.com/office/drawing/2014/main" id="{3E37EEDA-1AC6-43A0-8DC2-4A97869CCD8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6000" y="419100"/>
            <a:ext cx="1526400" cy="245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71688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_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5137" y="1481137"/>
            <a:ext cx="4694238" cy="4694238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>
          <a:xfrm>
            <a:off x="5424492" y="1481137"/>
            <a:ext cx="6296021" cy="4694237"/>
          </a:xfrm>
          <a:prstGeom prst="rect">
            <a:avLst/>
          </a:prstGeom>
          <a:ln w="3175"/>
        </p:spPr>
        <p:txBody>
          <a:bodyPr lIns="0" tIns="0" rIns="0" bIns="0" anchor="ctr" anchorCtr="0"/>
          <a:lstStyle>
            <a:lvl1pPr>
              <a:defRPr sz="1600">
                <a:solidFill>
                  <a:srgbClr val="00000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endParaRPr lang="de-DE" dirty="0"/>
          </a:p>
        </p:txBody>
      </p:sp>
      <p:sp>
        <p:nvSpPr>
          <p:cNvPr id="8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5" name="Rectangle 47">
            <a:extLst>
              <a:ext uri="{FF2B5EF4-FFF2-40B4-BE49-F238E27FC236}">
                <a16:creationId xmlns:a16="http://schemas.microsoft.com/office/drawing/2014/main" id="{CD8FBE8C-6C9D-4CF4-89D9-D7C5DC77F8F8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32542741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inks_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7035800" y="1481137"/>
            <a:ext cx="4691063" cy="4694237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ct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fr-FR" noProof="0" dirty="0"/>
          </a:p>
        </p:txBody>
      </p:sp>
      <p:sp>
        <p:nvSpPr>
          <p:cNvPr id="6" name="Textplatzhalter 2"/>
          <p:cNvSpPr>
            <a:spLocks noGrp="1"/>
          </p:cNvSpPr>
          <p:nvPr>
            <p:ph type="body" sz="quarter" idx="19"/>
          </p:nvPr>
        </p:nvSpPr>
        <p:spPr>
          <a:xfrm>
            <a:off x="454549" y="1481137"/>
            <a:ext cx="6312964" cy="4694237"/>
          </a:xfrm>
          <a:prstGeom prst="rect">
            <a:avLst/>
          </a:prstGeom>
          <a:ln w="3175"/>
        </p:spPr>
        <p:txBody>
          <a:bodyPr lIns="0" tIns="0" rIns="270000" bIns="0" anchor="ctr" anchorCtr="0"/>
          <a:lstStyle>
            <a:lvl1pPr>
              <a:defRPr sz="1600">
                <a:solidFill>
                  <a:srgbClr val="00000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endParaRPr lang="de-DE" dirty="0"/>
          </a:p>
        </p:txBody>
      </p:sp>
      <p:sp>
        <p:nvSpPr>
          <p:cNvPr id="9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7" name="Rectangle 47">
            <a:extLst>
              <a:ext uri="{FF2B5EF4-FFF2-40B4-BE49-F238E27FC236}">
                <a16:creationId xmlns:a16="http://schemas.microsoft.com/office/drawing/2014/main" id="{C2257564-C91B-496E-9C7F-E0D42D40643E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7626024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7"/>
          <p:cNvSpPr>
            <a:spLocks noGrp="1"/>
          </p:cNvSpPr>
          <p:nvPr>
            <p:ph type="pic" sz="quarter" idx="16" hasCustomPrompt="1"/>
          </p:nvPr>
        </p:nvSpPr>
        <p:spPr>
          <a:xfrm>
            <a:off x="465137" y="1481138"/>
            <a:ext cx="11261725" cy="2956203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ct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</p:txBody>
      </p:sp>
      <p:sp>
        <p:nvSpPr>
          <p:cNvPr id="7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65138" y="4652718"/>
            <a:ext cx="11255375" cy="1522657"/>
          </a:xfrm>
          <a:prstGeom prst="rect">
            <a:avLst/>
          </a:prstGeom>
        </p:spPr>
        <p:txBody>
          <a:bodyPr lIns="0" tIns="0" rIns="0" bIns="0" numCol="2" spcCol="270000"/>
          <a:lstStyle>
            <a:lvl1pPr>
              <a:defRPr sz="1600">
                <a:solidFill>
                  <a:srgbClr val="00000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6" name="Rectangle 47">
            <a:extLst>
              <a:ext uri="{FF2B5EF4-FFF2-40B4-BE49-F238E27FC236}">
                <a16:creationId xmlns:a16="http://schemas.microsoft.com/office/drawing/2014/main" id="{5ED4FC9F-5323-413D-85F7-DC24976D38D6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10582637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chelbilder klein_Text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"/>
          <p:cNvSpPr>
            <a:spLocks noGrp="1"/>
          </p:cNvSpPr>
          <p:nvPr>
            <p:ph type="body" sz="quarter" idx="22"/>
          </p:nvPr>
        </p:nvSpPr>
        <p:spPr>
          <a:xfrm>
            <a:off x="465138" y="2923318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34" name="Textplatzhalter 63"/>
          <p:cNvSpPr>
            <a:spLocks noGrp="1"/>
          </p:cNvSpPr>
          <p:nvPr>
            <p:ph type="body" sz="quarter" idx="36"/>
          </p:nvPr>
        </p:nvSpPr>
        <p:spPr>
          <a:xfrm>
            <a:off x="465137" y="5530965"/>
            <a:ext cx="11255376" cy="644410"/>
          </a:xfrm>
          <a:prstGeom prst="rect">
            <a:avLst/>
          </a:prstGeom>
        </p:spPr>
        <p:txBody>
          <a:bodyPr lIns="0" tIns="0" rIns="0" bIns="0" numCol="2" spcCol="270000"/>
          <a:lstStyle>
            <a:lvl1pPr>
              <a:defRPr sz="1600">
                <a:solidFill>
                  <a:srgbClr val="00000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endParaRPr lang="de-DE" dirty="0"/>
          </a:p>
        </p:txBody>
      </p:sp>
      <p:sp>
        <p:nvSpPr>
          <p:cNvPr id="38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69222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469107" y="1481138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65" name="Textplatzhalter 2"/>
          <p:cNvSpPr>
            <a:spLocks noGrp="1"/>
          </p:cNvSpPr>
          <p:nvPr>
            <p:ph type="body" sz="quarter" idx="38"/>
          </p:nvPr>
        </p:nvSpPr>
        <p:spPr>
          <a:xfrm>
            <a:off x="2102092" y="2923318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66" name="Bildplatzhalter 8"/>
          <p:cNvSpPr>
            <a:spLocks noGrp="1"/>
          </p:cNvSpPr>
          <p:nvPr>
            <p:ph type="pic" sz="quarter" idx="39" hasCustomPrompt="1"/>
          </p:nvPr>
        </p:nvSpPr>
        <p:spPr>
          <a:xfrm>
            <a:off x="2105400" y="1481138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67" name="Textplatzhalter 2"/>
          <p:cNvSpPr>
            <a:spLocks noGrp="1"/>
          </p:cNvSpPr>
          <p:nvPr>
            <p:ph type="body" sz="quarter" idx="40"/>
          </p:nvPr>
        </p:nvSpPr>
        <p:spPr>
          <a:xfrm>
            <a:off x="3739046" y="2923318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68" name="Bildplatzhalter 8"/>
          <p:cNvSpPr>
            <a:spLocks noGrp="1"/>
          </p:cNvSpPr>
          <p:nvPr>
            <p:ph type="pic" sz="quarter" idx="41" hasCustomPrompt="1"/>
          </p:nvPr>
        </p:nvSpPr>
        <p:spPr>
          <a:xfrm>
            <a:off x="3741693" y="1481138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69" name="Textplatzhalter 2"/>
          <p:cNvSpPr>
            <a:spLocks noGrp="1"/>
          </p:cNvSpPr>
          <p:nvPr>
            <p:ph type="body" sz="quarter" idx="42"/>
          </p:nvPr>
        </p:nvSpPr>
        <p:spPr>
          <a:xfrm>
            <a:off x="5376000" y="2923318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70" name="Bildplatzhalter 8"/>
          <p:cNvSpPr>
            <a:spLocks noGrp="1"/>
          </p:cNvSpPr>
          <p:nvPr>
            <p:ph type="pic" sz="quarter" idx="43" hasCustomPrompt="1"/>
          </p:nvPr>
        </p:nvSpPr>
        <p:spPr>
          <a:xfrm>
            <a:off x="5377986" y="1481138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71" name="Textplatzhalter 2"/>
          <p:cNvSpPr>
            <a:spLocks noGrp="1"/>
          </p:cNvSpPr>
          <p:nvPr>
            <p:ph type="body" sz="quarter" idx="44"/>
          </p:nvPr>
        </p:nvSpPr>
        <p:spPr>
          <a:xfrm>
            <a:off x="7012954" y="2923318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72" name="Bildplatzhalter 8"/>
          <p:cNvSpPr>
            <a:spLocks noGrp="1"/>
          </p:cNvSpPr>
          <p:nvPr>
            <p:ph type="pic" sz="quarter" idx="45" hasCustomPrompt="1"/>
          </p:nvPr>
        </p:nvSpPr>
        <p:spPr>
          <a:xfrm>
            <a:off x="7014279" y="1481138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73" name="Textplatzhalter 2"/>
          <p:cNvSpPr>
            <a:spLocks noGrp="1"/>
          </p:cNvSpPr>
          <p:nvPr>
            <p:ph type="body" sz="quarter" idx="46"/>
          </p:nvPr>
        </p:nvSpPr>
        <p:spPr>
          <a:xfrm>
            <a:off x="8649908" y="2923318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47" hasCustomPrompt="1"/>
          </p:nvPr>
        </p:nvSpPr>
        <p:spPr>
          <a:xfrm>
            <a:off x="8650572" y="1481138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75" name="Textplatzhalter 2"/>
          <p:cNvSpPr>
            <a:spLocks noGrp="1"/>
          </p:cNvSpPr>
          <p:nvPr>
            <p:ph type="body" sz="quarter" idx="48"/>
          </p:nvPr>
        </p:nvSpPr>
        <p:spPr>
          <a:xfrm>
            <a:off x="10286863" y="2923318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76" name="Bildplatzhalter 8"/>
          <p:cNvSpPr>
            <a:spLocks noGrp="1"/>
          </p:cNvSpPr>
          <p:nvPr>
            <p:ph type="pic" sz="quarter" idx="49" hasCustomPrompt="1"/>
          </p:nvPr>
        </p:nvSpPr>
        <p:spPr>
          <a:xfrm>
            <a:off x="10286863" y="1481138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77" name="Textplatzhalter 2"/>
          <p:cNvSpPr>
            <a:spLocks noGrp="1"/>
          </p:cNvSpPr>
          <p:nvPr>
            <p:ph type="body" sz="quarter" idx="50"/>
          </p:nvPr>
        </p:nvSpPr>
        <p:spPr>
          <a:xfrm>
            <a:off x="465138" y="4919544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78" name="Bildplatzhalter 8"/>
          <p:cNvSpPr>
            <a:spLocks noGrp="1"/>
          </p:cNvSpPr>
          <p:nvPr>
            <p:ph type="pic" sz="quarter" idx="51" hasCustomPrompt="1"/>
          </p:nvPr>
        </p:nvSpPr>
        <p:spPr>
          <a:xfrm>
            <a:off x="469107" y="3477364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79" name="Textplatzhalter 2"/>
          <p:cNvSpPr>
            <a:spLocks noGrp="1"/>
          </p:cNvSpPr>
          <p:nvPr>
            <p:ph type="body" sz="quarter" idx="52"/>
          </p:nvPr>
        </p:nvSpPr>
        <p:spPr>
          <a:xfrm>
            <a:off x="2102092" y="4919544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80" name="Bildplatzhalter 8"/>
          <p:cNvSpPr>
            <a:spLocks noGrp="1"/>
          </p:cNvSpPr>
          <p:nvPr>
            <p:ph type="pic" sz="quarter" idx="53" hasCustomPrompt="1"/>
          </p:nvPr>
        </p:nvSpPr>
        <p:spPr>
          <a:xfrm>
            <a:off x="2105400" y="3477364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81" name="Textplatzhalter 2"/>
          <p:cNvSpPr>
            <a:spLocks noGrp="1"/>
          </p:cNvSpPr>
          <p:nvPr>
            <p:ph type="body" sz="quarter" idx="54"/>
          </p:nvPr>
        </p:nvSpPr>
        <p:spPr>
          <a:xfrm>
            <a:off x="3739046" y="4919544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82" name="Bildplatzhalter 8"/>
          <p:cNvSpPr>
            <a:spLocks noGrp="1"/>
          </p:cNvSpPr>
          <p:nvPr>
            <p:ph type="pic" sz="quarter" idx="55" hasCustomPrompt="1"/>
          </p:nvPr>
        </p:nvSpPr>
        <p:spPr>
          <a:xfrm>
            <a:off x="3741693" y="3477364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83" name="Textplatzhalter 2"/>
          <p:cNvSpPr>
            <a:spLocks noGrp="1"/>
          </p:cNvSpPr>
          <p:nvPr>
            <p:ph type="body" sz="quarter" idx="56"/>
          </p:nvPr>
        </p:nvSpPr>
        <p:spPr>
          <a:xfrm>
            <a:off x="5376000" y="4919544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84" name="Bildplatzhalter 8"/>
          <p:cNvSpPr>
            <a:spLocks noGrp="1"/>
          </p:cNvSpPr>
          <p:nvPr>
            <p:ph type="pic" sz="quarter" idx="57" hasCustomPrompt="1"/>
          </p:nvPr>
        </p:nvSpPr>
        <p:spPr>
          <a:xfrm>
            <a:off x="5377986" y="3477364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85" name="Textplatzhalter 2"/>
          <p:cNvSpPr>
            <a:spLocks noGrp="1"/>
          </p:cNvSpPr>
          <p:nvPr>
            <p:ph type="body" sz="quarter" idx="58"/>
          </p:nvPr>
        </p:nvSpPr>
        <p:spPr>
          <a:xfrm>
            <a:off x="7012954" y="4919544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86" name="Bildplatzhalter 8"/>
          <p:cNvSpPr>
            <a:spLocks noGrp="1"/>
          </p:cNvSpPr>
          <p:nvPr>
            <p:ph type="pic" sz="quarter" idx="59" hasCustomPrompt="1"/>
          </p:nvPr>
        </p:nvSpPr>
        <p:spPr>
          <a:xfrm>
            <a:off x="7014279" y="3477364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87" name="Textplatzhalter 2"/>
          <p:cNvSpPr>
            <a:spLocks noGrp="1"/>
          </p:cNvSpPr>
          <p:nvPr>
            <p:ph type="body" sz="quarter" idx="60"/>
          </p:nvPr>
        </p:nvSpPr>
        <p:spPr>
          <a:xfrm>
            <a:off x="8649908" y="4919544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88" name="Bildplatzhalter 8"/>
          <p:cNvSpPr>
            <a:spLocks noGrp="1"/>
          </p:cNvSpPr>
          <p:nvPr>
            <p:ph type="pic" sz="quarter" idx="61" hasCustomPrompt="1"/>
          </p:nvPr>
        </p:nvSpPr>
        <p:spPr>
          <a:xfrm>
            <a:off x="8650572" y="3477364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89" name="Textplatzhalter 2"/>
          <p:cNvSpPr>
            <a:spLocks noGrp="1"/>
          </p:cNvSpPr>
          <p:nvPr>
            <p:ph type="body" sz="quarter" idx="62"/>
          </p:nvPr>
        </p:nvSpPr>
        <p:spPr>
          <a:xfrm>
            <a:off x="10286863" y="4919544"/>
            <a:ext cx="1440000" cy="396000"/>
          </a:xfrm>
          <a:prstGeom prst="rect">
            <a:avLst/>
          </a:prstGeom>
          <a:solidFill>
            <a:srgbClr val="227DC6"/>
          </a:solidFill>
        </p:spPr>
        <p:txBody>
          <a:bodyPr anchor="ctr" anchorCtr="1"/>
          <a:lstStyle>
            <a:lvl1pPr algn="ctr">
              <a:defRPr sz="1100">
                <a:solidFill>
                  <a:srgbClr val="FFFFFF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90" name="Bildplatzhalter 8"/>
          <p:cNvSpPr>
            <a:spLocks noGrp="1"/>
          </p:cNvSpPr>
          <p:nvPr>
            <p:ph type="pic" sz="quarter" idx="63" hasCustomPrompt="1"/>
          </p:nvPr>
        </p:nvSpPr>
        <p:spPr>
          <a:xfrm>
            <a:off x="10286863" y="3477364"/>
            <a:ext cx="1440000" cy="14400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baseline="0"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de-DE" noProof="0" dirty="0"/>
          </a:p>
        </p:txBody>
      </p:sp>
      <p:sp>
        <p:nvSpPr>
          <p:cNvPr id="32" name="Rectangle 47">
            <a:extLst>
              <a:ext uri="{FF2B5EF4-FFF2-40B4-BE49-F238E27FC236}">
                <a16:creationId xmlns:a16="http://schemas.microsoft.com/office/drawing/2014/main" id="{09B11B22-B616-4514-A94E-5E7E52C3BA75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7854043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chelbilder groß_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6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5137" y="1481137"/>
            <a:ext cx="2216151" cy="2216151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fr-FR" noProof="0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22" hasCustomPrompt="1"/>
          </p:nvPr>
        </p:nvSpPr>
        <p:spPr>
          <a:xfrm>
            <a:off x="5430838" y="1481137"/>
            <a:ext cx="2216151" cy="2216151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fr-FR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23" hasCustomPrompt="1"/>
          </p:nvPr>
        </p:nvSpPr>
        <p:spPr>
          <a:xfrm>
            <a:off x="2951163" y="1481138"/>
            <a:ext cx="2211387" cy="221615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fr-FR" noProof="0" dirty="0"/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24" hasCustomPrompt="1"/>
          </p:nvPr>
        </p:nvSpPr>
        <p:spPr>
          <a:xfrm>
            <a:off x="465138" y="3965574"/>
            <a:ext cx="2209799" cy="2209799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fr-FR" noProof="0" dirty="0"/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25" hasCustomPrompt="1"/>
          </p:nvPr>
        </p:nvSpPr>
        <p:spPr>
          <a:xfrm>
            <a:off x="5430838" y="3965575"/>
            <a:ext cx="2209800" cy="2209800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fr-FR" noProof="0" dirty="0"/>
          </a:p>
        </p:txBody>
      </p:sp>
      <p:sp>
        <p:nvSpPr>
          <p:cNvPr id="11" name="Bildplatzhalter 7"/>
          <p:cNvSpPr>
            <a:spLocks noGrp="1"/>
          </p:cNvSpPr>
          <p:nvPr>
            <p:ph type="pic" sz="quarter" idx="26" hasCustomPrompt="1"/>
          </p:nvPr>
        </p:nvSpPr>
        <p:spPr>
          <a:xfrm>
            <a:off x="2944812" y="3964049"/>
            <a:ext cx="2217738" cy="2211325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/>
            </a:pPr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  <a:p>
            <a:pPr lvl="0"/>
            <a:endParaRPr lang="fr-FR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9074335" y="1481137"/>
            <a:ext cx="2646178" cy="4694236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1600" baseline="0">
                <a:solidFill>
                  <a:srgbClr val="00000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Text durch Klicken hinzufügen</a:t>
            </a:r>
          </a:p>
        </p:txBody>
      </p:sp>
      <p:sp>
        <p:nvSpPr>
          <p:cNvPr id="12" name="Rectangle 47">
            <a:extLst>
              <a:ext uri="{FF2B5EF4-FFF2-40B4-BE49-F238E27FC236}">
                <a16:creationId xmlns:a16="http://schemas.microsoft.com/office/drawing/2014/main" id="{D6B7D230-0933-424A-8A51-140473BE4133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9536832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und kleines Bild_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sz="quarter" idx="22"/>
          </p:nvPr>
        </p:nvSpPr>
        <p:spPr>
          <a:xfrm>
            <a:off x="9075660" y="1426409"/>
            <a:ext cx="2644853" cy="2539166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rgbClr val="00000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endParaRPr lang="de-DE" dirty="0"/>
          </a:p>
        </p:txBody>
      </p:sp>
      <p:sp>
        <p:nvSpPr>
          <p:cNvPr id="13" name="Textplatzhalt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465138" y="374650"/>
            <a:ext cx="7661275" cy="80645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3000"/>
              </a:lnSpc>
              <a:defRPr sz="2800" baseline="0">
                <a:solidFill>
                  <a:srgbClr val="227DC6"/>
                </a:solidFill>
              </a:defRPr>
            </a:lvl1pPr>
            <a:lvl2pPr marL="1588" indent="0">
              <a:lnSpc>
                <a:spcPts val="2800"/>
              </a:lnSpc>
              <a:buNone/>
              <a:defRPr sz="1600">
                <a:solidFill>
                  <a:srgbClr val="697075"/>
                </a:solidFill>
              </a:defRPr>
            </a:lvl2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5137" y="1481137"/>
            <a:ext cx="8342363" cy="4692579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</p:txBody>
      </p:sp>
      <p:sp>
        <p:nvSpPr>
          <p:cNvPr id="15" name="Bildplatzhalter 7"/>
          <p:cNvSpPr>
            <a:spLocks noGrp="1"/>
          </p:cNvSpPr>
          <p:nvPr>
            <p:ph type="pic" sz="quarter" idx="25" hasCustomPrompt="1"/>
          </p:nvPr>
        </p:nvSpPr>
        <p:spPr>
          <a:xfrm>
            <a:off x="9073733" y="4682988"/>
            <a:ext cx="2646780" cy="1492387"/>
          </a:xfrm>
          <a:prstGeom prst="rect">
            <a:avLst/>
          </a:prstGeom>
          <a:solidFill>
            <a:srgbClr val="C6C9CC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 err="1"/>
              <a:t>Bild</a:t>
            </a:r>
            <a:r>
              <a:rPr lang="fr-FR" noProof="0" dirty="0"/>
              <a:t> </a:t>
            </a:r>
            <a:r>
              <a:rPr lang="fr-FR" noProof="0" dirty="0" err="1"/>
              <a:t>durch</a:t>
            </a:r>
            <a:r>
              <a:rPr lang="fr-FR" noProof="0" dirty="0"/>
              <a:t> </a:t>
            </a:r>
            <a:r>
              <a:rPr lang="fr-FR" noProof="0" dirty="0" err="1"/>
              <a:t>Klicken</a:t>
            </a:r>
            <a:r>
              <a:rPr lang="fr-FR" noProof="0" dirty="0"/>
              <a:t> </a:t>
            </a:r>
            <a:r>
              <a:rPr lang="fr-FR" noProof="0" dirty="0" err="1"/>
              <a:t>hinzufügen</a:t>
            </a:r>
            <a:endParaRPr lang="fr-FR" noProof="0" dirty="0"/>
          </a:p>
        </p:txBody>
      </p:sp>
      <p:sp>
        <p:nvSpPr>
          <p:cNvPr id="6" name="Rectangle 47">
            <a:extLst>
              <a:ext uri="{FF2B5EF4-FFF2-40B4-BE49-F238E27FC236}">
                <a16:creationId xmlns:a16="http://schemas.microsoft.com/office/drawing/2014/main" id="{AE81D4AD-A278-4C27-AD47-8A62DCCF6880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29259137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26" Type="http://schemas.openxmlformats.org/officeDocument/2006/relationships/tags" Target="../tags/tag10.xml"/><Relationship Id="rId39" Type="http://schemas.openxmlformats.org/officeDocument/2006/relationships/tags" Target="../tags/tag23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5.xml"/><Relationship Id="rId34" Type="http://schemas.openxmlformats.org/officeDocument/2006/relationships/tags" Target="../tags/tag18.xml"/><Relationship Id="rId42" Type="http://schemas.openxmlformats.org/officeDocument/2006/relationships/tags" Target="../tags/tag26.xml"/><Relationship Id="rId47" Type="http://schemas.openxmlformats.org/officeDocument/2006/relationships/image" Target="../media/image1.w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tags" Target="../tags/tag9.xml"/><Relationship Id="rId33" Type="http://schemas.openxmlformats.org/officeDocument/2006/relationships/tags" Target="../tags/tag17.xml"/><Relationship Id="rId38" Type="http://schemas.openxmlformats.org/officeDocument/2006/relationships/tags" Target="../tags/tag22.xml"/><Relationship Id="rId46" Type="http://schemas.openxmlformats.org/officeDocument/2006/relationships/tags" Target="../tags/tag30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4.xml"/><Relationship Id="rId29" Type="http://schemas.openxmlformats.org/officeDocument/2006/relationships/tags" Target="../tags/tag13.xml"/><Relationship Id="rId41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8.xml"/><Relationship Id="rId32" Type="http://schemas.openxmlformats.org/officeDocument/2006/relationships/tags" Target="../tags/tag16.xml"/><Relationship Id="rId37" Type="http://schemas.openxmlformats.org/officeDocument/2006/relationships/tags" Target="../tags/tag21.xml"/><Relationship Id="rId40" Type="http://schemas.openxmlformats.org/officeDocument/2006/relationships/tags" Target="../tags/tag24.xml"/><Relationship Id="rId45" Type="http://schemas.openxmlformats.org/officeDocument/2006/relationships/tags" Target="../tags/tag29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7.xml"/><Relationship Id="rId28" Type="http://schemas.openxmlformats.org/officeDocument/2006/relationships/tags" Target="../tags/tag12.xml"/><Relationship Id="rId36" Type="http://schemas.openxmlformats.org/officeDocument/2006/relationships/tags" Target="../tags/tag20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31" Type="http://schemas.openxmlformats.org/officeDocument/2006/relationships/tags" Target="../tags/tag15.xml"/><Relationship Id="rId44" Type="http://schemas.openxmlformats.org/officeDocument/2006/relationships/tags" Target="../tags/tag28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6.xml"/><Relationship Id="rId27" Type="http://schemas.openxmlformats.org/officeDocument/2006/relationships/tags" Target="../tags/tag11.xml"/><Relationship Id="rId30" Type="http://schemas.openxmlformats.org/officeDocument/2006/relationships/tags" Target="../tags/tag14.xml"/><Relationship Id="rId35" Type="http://schemas.openxmlformats.org/officeDocument/2006/relationships/tags" Target="../tags/tag19.xml"/><Relationship Id="rId43" Type="http://schemas.openxmlformats.org/officeDocument/2006/relationships/tags" Target="../tags/tag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72" name="cdtMasterTags_CL1 Id3072"/>
          <p:cNvCxnSpPr/>
          <p:nvPr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55" name="p4pp footer - cdtTextBox 13 Id19" hidden="1"/>
          <p:cNvSpPr txBox="1"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3787775" y="6597650"/>
            <a:ext cx="841057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482400" bIns="115200"/>
          <a:lstStyle>
            <a:lvl1pPr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algn="r" eaLnBrk="1" hangingPunct="1">
              <a:lnSpc>
                <a:spcPct val="110000"/>
              </a:lnSpc>
              <a:spcBef>
                <a:spcPct val="0"/>
              </a:spcBef>
              <a:defRPr/>
            </a:pPr>
            <a:r>
              <a:rPr lang="de-DE" altLang="de-DE" sz="1000">
                <a:solidFill>
                  <a:srgbClr val="000000"/>
                </a:solidFill>
              </a:rPr>
              <a:t>Autor / Abteilung</a:t>
            </a:r>
          </a:p>
        </p:txBody>
      </p:sp>
      <p:sp>
        <p:nvSpPr>
          <p:cNvPr id="1056" name="p4pp date - cdtTextBox 12 Id17" hidden="1"/>
          <p:cNvSpPr txBox="1"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0" y="6597650"/>
            <a:ext cx="3932238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908000" tIns="0" rIns="0" bIns="115200"/>
          <a:lstStyle>
            <a:lvl1pPr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ct val="0"/>
              </a:spcBef>
              <a:defRPr/>
            </a:pPr>
            <a:r>
              <a:rPr lang="de-DE" altLang="de-DE" sz="1000">
                <a:solidFill>
                  <a:srgbClr val="000000"/>
                </a:solidFill>
              </a:rPr>
              <a:t>XX.XX.20XX</a:t>
            </a:r>
          </a:p>
        </p:txBody>
      </p:sp>
      <p:sp>
        <p:nvSpPr>
          <p:cNvPr id="1057" name="p4pp page - cdtTextBox 11 Id18" hidden="1"/>
          <p:cNvSpPr txBox="1">
            <a:spLocks noChangeArrowheads="1"/>
          </p:cNvSpPr>
          <p:nvPr>
            <p:custDataLst>
              <p:tags r:id="rId43"/>
            </p:custDataLst>
          </p:nvPr>
        </p:nvSpPr>
        <p:spPr bwMode="auto">
          <a:xfrm>
            <a:off x="0" y="6597650"/>
            <a:ext cx="1765300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26400" tIns="0" rIns="0" bIns="115200"/>
          <a:lstStyle>
            <a:lvl1pPr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ct val="0"/>
              </a:spcBef>
              <a:defRPr/>
            </a:pPr>
            <a:r>
              <a:rPr lang="de-DE" altLang="de-DE" sz="1000">
                <a:solidFill>
                  <a:srgbClr val="000000"/>
                </a:solidFill>
              </a:rPr>
              <a:t>Seite </a:t>
            </a:r>
            <a:fld id="{1AA43DC7-25B2-49F7-A7DC-D8F03C5C3057}" type="slidenum">
              <a:rPr lang="de-DE" altLang="de-DE" sz="1000">
                <a:solidFill>
                  <a:srgbClr val="000000"/>
                </a:solidFill>
              </a:rPr>
              <a:pPr eaLnBrk="1" hangingPunct="1">
                <a:lnSpc>
                  <a:spcPct val="110000"/>
                </a:lnSpc>
                <a:spcBef>
                  <a:spcPct val="0"/>
                </a:spcBef>
                <a:defRPr/>
              </a:pPr>
              <a:t>‹Nr.›</a:t>
            </a:fld>
            <a:endParaRPr lang="de-DE" altLang="de-DE" sz="1000">
              <a:solidFill>
                <a:srgbClr val="000000"/>
              </a:solidFill>
            </a:endParaRPr>
          </a:p>
        </p:txBody>
      </p:sp>
      <p:sp>
        <p:nvSpPr>
          <p:cNvPr id="7" name="empower - DO NOT DELETE!!!" hidden="1"/>
          <p:cNvSpPr/>
          <p:nvPr>
            <p:custDataLst>
              <p:tags r:id="rId44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108000" tIns="54000" rIns="108000" bIns="54000" spcCol="72000" anchor="ctr"/>
          <a:lstStyle/>
          <a:p>
            <a:pPr lvl="0" algn="ctr">
              <a:lnSpc>
                <a:spcPct val="110000"/>
              </a:lnSpc>
              <a:buFont typeface="Wingdings" charset="0"/>
              <a:buNone/>
              <a:defRPr/>
            </a:pPr>
            <a:endParaRPr lang="de-DE" b="1" dirty="0" err="1">
              <a:solidFill>
                <a:schemeClr val="tx1"/>
              </a:solidFill>
              <a:latin typeface="Arial" pitchFamily="34" charset="0"/>
              <a:ea typeface="ＭＳ Ｐゴシック" charset="-128"/>
            </a:endParaRPr>
          </a:p>
        </p:txBody>
      </p:sp>
      <p:cxnSp>
        <p:nvCxnSpPr>
          <p:cNvPr id="72" name="Gerade Verbindung 71"/>
          <p:cNvCxnSpPr/>
          <p:nvPr/>
        </p:nvCxnSpPr>
        <p:spPr bwMode="auto">
          <a:xfrm>
            <a:off x="463550" y="6442190"/>
            <a:ext cx="11256963" cy="0"/>
          </a:xfrm>
          <a:prstGeom prst="line">
            <a:avLst/>
          </a:prstGeom>
          <a:solidFill>
            <a:schemeClr val="tx2"/>
          </a:solidFill>
          <a:ln w="6350" cap="flat" cmpd="sng" algn="ctr">
            <a:gradFill>
              <a:gsLst>
                <a:gs pos="0">
                  <a:srgbClr val="BACFEF"/>
                </a:gs>
                <a:gs pos="100000">
                  <a:srgbClr val="227DC6"/>
                </a:gs>
              </a:gsLst>
              <a:lin ang="0" scaled="0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3" name="Gerade Verbindung 102"/>
          <p:cNvCxnSpPr/>
          <p:nvPr/>
        </p:nvCxnSpPr>
        <p:spPr bwMode="auto">
          <a:xfrm>
            <a:off x="465138" y="1216025"/>
            <a:ext cx="11250612" cy="0"/>
          </a:xfrm>
          <a:prstGeom prst="line">
            <a:avLst/>
          </a:prstGeom>
          <a:solidFill>
            <a:schemeClr val="tx2"/>
          </a:solidFill>
          <a:ln w="6350" cap="flat" cmpd="sng" algn="ctr">
            <a:gradFill>
              <a:gsLst>
                <a:gs pos="0">
                  <a:srgbClr val="227DC6"/>
                </a:gs>
                <a:gs pos="100000">
                  <a:srgbClr val="BACFEF"/>
                </a:gs>
              </a:gsLst>
              <a:lin ang="0" scaled="0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1" name="cdtText Box 133 Id16"/>
          <p:cNvSpPr txBox="1">
            <a:spLocks noChangeArrowheads="1"/>
          </p:cNvSpPr>
          <p:nvPr>
            <p:custDataLst>
              <p:tags r:id="rId45"/>
            </p:custDataLst>
          </p:nvPr>
        </p:nvSpPr>
        <p:spPr bwMode="auto">
          <a:xfrm>
            <a:off x="1263197" y="6497639"/>
            <a:ext cx="10469204" cy="200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marL="0" marR="0" indent="0" algn="just" defTabSz="928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>
                <a:tab pos="11301413" algn="r"/>
              </a:tabLst>
              <a:defRPr/>
            </a:pPr>
            <a:r>
              <a:rPr lang="de-DE" altLang="de-DE" sz="1000" dirty="0">
                <a:solidFill>
                  <a:srgbClr val="697075"/>
                </a:solidFill>
              </a:rPr>
              <a:t>	 © Flender GmbH 2022. Alle Rechte vorbehalten.</a:t>
            </a:r>
          </a:p>
        </p:txBody>
      </p:sp>
      <p:grpSp>
        <p:nvGrpSpPr>
          <p:cNvPr id="68" name="Gruppieren 1"/>
          <p:cNvGrpSpPr>
            <a:grpSpLocks/>
          </p:cNvGrpSpPr>
          <p:nvPr/>
        </p:nvGrpSpPr>
        <p:grpSpPr bwMode="auto">
          <a:xfrm>
            <a:off x="-215900" y="-215901"/>
            <a:ext cx="12628562" cy="7289801"/>
            <a:chOff x="-215901" y="-215901"/>
            <a:chExt cx="12629356" cy="7289801"/>
          </a:xfrm>
        </p:grpSpPr>
        <p:cxnSp>
          <p:nvCxnSpPr>
            <p:cNvPr id="69" name="Gerade Verbindung 68"/>
            <p:cNvCxnSpPr/>
            <p:nvPr userDrawn="1"/>
          </p:nvCxnSpPr>
          <p:spPr bwMode="auto">
            <a:xfrm>
              <a:off x="464783" y="-215900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>
              <a:off x="6095998" y="-215900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5" name="Gerade Verbindung 104"/>
            <p:cNvCxnSpPr/>
            <p:nvPr userDrawn="1"/>
          </p:nvCxnSpPr>
          <p:spPr bwMode="auto">
            <a:xfrm>
              <a:off x="6232926" y="-215900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6" name="Gerade Verbindung 105"/>
            <p:cNvCxnSpPr/>
            <p:nvPr userDrawn="1"/>
          </p:nvCxnSpPr>
          <p:spPr bwMode="auto">
            <a:xfrm>
              <a:off x="11720072" y="-215900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7" name="Gerade Verbindung 106"/>
            <p:cNvCxnSpPr/>
            <p:nvPr userDrawn="1"/>
          </p:nvCxnSpPr>
          <p:spPr bwMode="auto">
            <a:xfrm rot="5400000">
              <a:off x="12322962" y="329401"/>
              <a:ext cx="0" cy="177811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8" name="Gerade Verbindung 107"/>
            <p:cNvCxnSpPr/>
            <p:nvPr userDrawn="1"/>
          </p:nvCxnSpPr>
          <p:spPr bwMode="auto">
            <a:xfrm rot="5400000">
              <a:off x="12322962" y="1391041"/>
              <a:ext cx="0" cy="177811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9" name="Gerade Verbindung 108"/>
            <p:cNvCxnSpPr/>
            <p:nvPr userDrawn="1"/>
          </p:nvCxnSpPr>
          <p:spPr bwMode="auto">
            <a:xfrm rot="5400000">
              <a:off x="12323756" y="3605994"/>
              <a:ext cx="0" cy="179399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0" name="Gerade Verbindung 109"/>
            <p:cNvCxnSpPr/>
            <p:nvPr userDrawn="1"/>
          </p:nvCxnSpPr>
          <p:spPr bwMode="auto">
            <a:xfrm rot="5400000">
              <a:off x="12323756" y="3737754"/>
              <a:ext cx="0" cy="179399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1" name="Gerade Verbindung 110"/>
            <p:cNvCxnSpPr/>
            <p:nvPr userDrawn="1"/>
          </p:nvCxnSpPr>
          <p:spPr bwMode="auto">
            <a:xfrm>
              <a:off x="464783" y="6894513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2" name="Gerade Verbindung 111"/>
            <p:cNvCxnSpPr/>
            <p:nvPr userDrawn="1"/>
          </p:nvCxnSpPr>
          <p:spPr bwMode="auto">
            <a:xfrm>
              <a:off x="6766363" y="6894513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3" name="Gerade Verbindung 112"/>
            <p:cNvCxnSpPr/>
            <p:nvPr userDrawn="1"/>
          </p:nvCxnSpPr>
          <p:spPr bwMode="auto">
            <a:xfrm>
              <a:off x="7035064" y="6894513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4" name="Gerade Verbindung 113"/>
            <p:cNvCxnSpPr/>
            <p:nvPr userDrawn="1"/>
          </p:nvCxnSpPr>
          <p:spPr bwMode="auto">
            <a:xfrm>
              <a:off x="11720072" y="6894513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5" name="Gerade Verbindung 114"/>
            <p:cNvCxnSpPr/>
            <p:nvPr userDrawn="1"/>
          </p:nvCxnSpPr>
          <p:spPr bwMode="auto">
            <a:xfrm rot="5400000">
              <a:off x="-126201" y="326225"/>
              <a:ext cx="0" cy="179398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6" name="Gerade Verbindung 115"/>
            <p:cNvCxnSpPr/>
            <p:nvPr userDrawn="1"/>
          </p:nvCxnSpPr>
          <p:spPr bwMode="auto">
            <a:xfrm rot="5400000">
              <a:off x="-126201" y="1390247"/>
              <a:ext cx="0" cy="179398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7" name="Gerade Verbindung 116"/>
            <p:cNvCxnSpPr/>
            <p:nvPr userDrawn="1"/>
          </p:nvCxnSpPr>
          <p:spPr bwMode="auto">
            <a:xfrm rot="5400000">
              <a:off x="-126202" y="3606397"/>
              <a:ext cx="0" cy="179398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8" name="Gerade Verbindung 117"/>
            <p:cNvCxnSpPr/>
            <p:nvPr userDrawn="1"/>
          </p:nvCxnSpPr>
          <p:spPr bwMode="auto">
            <a:xfrm rot="5400000">
              <a:off x="-124615" y="3737763"/>
              <a:ext cx="0" cy="179398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19" name="Gruppieren 68"/>
            <p:cNvGrpSpPr>
              <a:grpSpLocks/>
            </p:cNvGrpSpPr>
            <p:nvPr userDrawn="1"/>
          </p:nvGrpSpPr>
          <p:grpSpPr bwMode="auto">
            <a:xfrm>
              <a:off x="5161696" y="-215900"/>
              <a:ext cx="268305" cy="179387"/>
              <a:chOff x="7185610" y="-63600"/>
              <a:chExt cx="268305" cy="179392"/>
            </a:xfrm>
          </p:grpSpPr>
          <p:cxnSp>
            <p:nvCxnSpPr>
              <p:cNvPr id="140" name="Gerade Verbindung 139"/>
              <p:cNvCxnSpPr/>
              <p:nvPr userDrawn="1"/>
            </p:nvCxnSpPr>
            <p:spPr bwMode="auto">
              <a:xfrm>
                <a:off x="7185610" y="-63600"/>
                <a:ext cx="0" cy="179392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1" name="Gerade Verbindung 140"/>
              <p:cNvCxnSpPr/>
              <p:nvPr userDrawn="1"/>
            </p:nvCxnSpPr>
            <p:spPr bwMode="auto">
              <a:xfrm>
                <a:off x="7453915" y="-63600"/>
                <a:ext cx="0" cy="179392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120" name="Gruppieren 69"/>
            <p:cNvGrpSpPr>
              <a:grpSpLocks/>
            </p:cNvGrpSpPr>
            <p:nvPr userDrawn="1"/>
          </p:nvGrpSpPr>
          <p:grpSpPr bwMode="auto">
            <a:xfrm>
              <a:off x="5161696" y="6894513"/>
              <a:ext cx="267905" cy="179387"/>
              <a:chOff x="7185610" y="-62992"/>
              <a:chExt cx="267905" cy="179392"/>
            </a:xfrm>
          </p:grpSpPr>
          <p:cxnSp>
            <p:nvCxnSpPr>
              <p:cNvPr id="138" name="Gerade Verbindung 137"/>
              <p:cNvCxnSpPr/>
              <p:nvPr userDrawn="1"/>
            </p:nvCxnSpPr>
            <p:spPr bwMode="auto">
              <a:xfrm>
                <a:off x="7185610" y="-62992"/>
                <a:ext cx="0" cy="179392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9" name="Gerade Verbindung 138"/>
              <p:cNvCxnSpPr/>
              <p:nvPr userDrawn="1"/>
            </p:nvCxnSpPr>
            <p:spPr bwMode="auto">
              <a:xfrm>
                <a:off x="7453515" y="-62992"/>
                <a:ext cx="0" cy="179392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121" name="Gruppieren 70"/>
            <p:cNvGrpSpPr>
              <a:grpSpLocks/>
            </p:cNvGrpSpPr>
            <p:nvPr userDrawn="1"/>
          </p:nvGrpSpPr>
          <p:grpSpPr bwMode="auto">
            <a:xfrm>
              <a:off x="6766751" y="-215901"/>
              <a:ext cx="2309172" cy="179388"/>
              <a:chOff x="5047526" y="-63601"/>
              <a:chExt cx="2309224" cy="179393"/>
            </a:xfrm>
          </p:grpSpPr>
          <p:cxnSp>
            <p:nvCxnSpPr>
              <p:cNvPr id="134" name="Gerade Verbindung 133"/>
              <p:cNvCxnSpPr/>
              <p:nvPr userDrawn="1"/>
            </p:nvCxnSpPr>
            <p:spPr bwMode="auto">
              <a:xfrm>
                <a:off x="5047526" y="-63601"/>
                <a:ext cx="0" cy="179392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5" name="Gerade Verbindung 134"/>
              <p:cNvCxnSpPr/>
              <p:nvPr userDrawn="1"/>
            </p:nvCxnSpPr>
            <p:spPr bwMode="auto">
              <a:xfrm>
                <a:off x="5315440" y="-63600"/>
                <a:ext cx="0" cy="179392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6" name="Gerade Verbindung 135"/>
              <p:cNvCxnSpPr/>
              <p:nvPr userDrawn="1"/>
            </p:nvCxnSpPr>
            <p:spPr bwMode="auto">
              <a:xfrm>
                <a:off x="7087646" y="-63601"/>
                <a:ext cx="0" cy="179392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7" name="Gerade Verbindung 136"/>
              <p:cNvCxnSpPr/>
              <p:nvPr userDrawn="1"/>
            </p:nvCxnSpPr>
            <p:spPr bwMode="auto">
              <a:xfrm>
                <a:off x="7356750" y="-63600"/>
                <a:ext cx="0" cy="179392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cxnSp>
          <p:nvCxnSpPr>
            <p:cNvPr id="122" name="Gerade Verbindung 121"/>
            <p:cNvCxnSpPr/>
            <p:nvPr userDrawn="1"/>
          </p:nvCxnSpPr>
          <p:spPr bwMode="auto">
            <a:xfrm rot="5400000">
              <a:off x="-125408" y="987422"/>
              <a:ext cx="0" cy="177811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3" name="Gerade Verbindung 122"/>
            <p:cNvCxnSpPr/>
            <p:nvPr userDrawn="1"/>
          </p:nvCxnSpPr>
          <p:spPr bwMode="auto">
            <a:xfrm rot="5400000">
              <a:off x="-126202" y="6084883"/>
              <a:ext cx="0" cy="179398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4" name="Gerade Verbindung 123"/>
            <p:cNvCxnSpPr/>
            <p:nvPr userDrawn="1"/>
          </p:nvCxnSpPr>
          <p:spPr bwMode="auto">
            <a:xfrm rot="5400000">
              <a:off x="12323756" y="6084884"/>
              <a:ext cx="0" cy="179399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5" name="Gerade Verbindung 124"/>
            <p:cNvCxnSpPr/>
            <p:nvPr userDrawn="1"/>
          </p:nvCxnSpPr>
          <p:spPr bwMode="auto">
            <a:xfrm rot="5400000">
              <a:off x="12323756" y="986628"/>
              <a:ext cx="0" cy="179399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6" name="Gerade Verbindung 125"/>
            <p:cNvCxnSpPr/>
            <p:nvPr userDrawn="1"/>
          </p:nvCxnSpPr>
          <p:spPr bwMode="auto">
            <a:xfrm rot="5400000">
              <a:off x="-126201" y="3875479"/>
              <a:ext cx="0" cy="179398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7" name="Gerade Verbindung 126"/>
            <p:cNvCxnSpPr/>
            <p:nvPr userDrawn="1"/>
          </p:nvCxnSpPr>
          <p:spPr bwMode="auto">
            <a:xfrm>
              <a:off x="5963434" y="-215900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8" name="Gerade Verbindung 127"/>
            <p:cNvCxnSpPr/>
            <p:nvPr userDrawn="1"/>
          </p:nvCxnSpPr>
          <p:spPr bwMode="auto">
            <a:xfrm rot="5400000">
              <a:off x="12323756" y="3875071"/>
              <a:ext cx="0" cy="179399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9" name="Gerade Verbindung 128"/>
            <p:cNvCxnSpPr/>
            <p:nvPr userDrawn="1"/>
          </p:nvCxnSpPr>
          <p:spPr bwMode="auto">
            <a:xfrm>
              <a:off x="9075923" y="6894512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0" name="Gerade Verbindung 129"/>
            <p:cNvCxnSpPr/>
            <p:nvPr userDrawn="1"/>
          </p:nvCxnSpPr>
          <p:spPr bwMode="auto">
            <a:xfrm>
              <a:off x="8806825" y="6894513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1" name="Gerade Verbindung 130"/>
            <p:cNvCxnSpPr/>
            <p:nvPr userDrawn="1"/>
          </p:nvCxnSpPr>
          <p:spPr bwMode="auto">
            <a:xfrm>
              <a:off x="6233326" y="6894513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2" name="Gerade Verbindung 131"/>
            <p:cNvCxnSpPr/>
            <p:nvPr userDrawn="1"/>
          </p:nvCxnSpPr>
          <p:spPr bwMode="auto">
            <a:xfrm>
              <a:off x="6096793" y="6894513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3" name="Gerade Verbindung 132"/>
            <p:cNvCxnSpPr/>
            <p:nvPr userDrawn="1"/>
          </p:nvCxnSpPr>
          <p:spPr bwMode="auto">
            <a:xfrm>
              <a:off x="5962639" y="6894513"/>
              <a:ext cx="0" cy="179387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3" name="Picture 2" descr="C:\Users\Romen-Agentur\Desktop\FL-Logo-RGB-office.wmf"/>
          <p:cNvPicPr>
            <a:picLocks noChangeAspect="1" noChangeArrowheads="1"/>
          </p:cNvPicPr>
          <p:nvPr userDrawn="1"/>
        </p:nvPicPr>
        <p:blipFill>
          <a:blip r:embed="rId4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06000" y="419100"/>
            <a:ext cx="1526400" cy="245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Rectangle 47">
            <a:extLst>
              <a:ext uri="{FF2B5EF4-FFF2-40B4-BE49-F238E27FC236}">
                <a16:creationId xmlns:a16="http://schemas.microsoft.com/office/drawing/2014/main" id="{FEBE50E8-E0F7-4386-9DF2-A80B320AE514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46"/>
            </p:custDataLst>
          </p:nvPr>
        </p:nvSpPr>
        <p:spPr bwMode="auto">
          <a:xfrm>
            <a:off x="465138" y="6455292"/>
            <a:ext cx="3310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 b="1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8A7851A3-7924-47DB-8266-89B486F03506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25" r:id="rId1"/>
    <p:sldLayoutId id="2147484153" r:id="rId2"/>
    <p:sldLayoutId id="2147484155" r:id="rId3"/>
    <p:sldLayoutId id="2147484126" r:id="rId4"/>
    <p:sldLayoutId id="2147484127" r:id="rId5"/>
    <p:sldLayoutId id="2147484128" r:id="rId6"/>
    <p:sldLayoutId id="2147484129" r:id="rId7"/>
    <p:sldLayoutId id="2147484141" r:id="rId8"/>
    <p:sldLayoutId id="2147484131" r:id="rId9"/>
    <p:sldLayoutId id="2147484132" r:id="rId10"/>
    <p:sldLayoutId id="2147484137" r:id="rId11"/>
    <p:sldLayoutId id="2147484136" r:id="rId12"/>
    <p:sldLayoutId id="2147484147" r:id="rId13"/>
    <p:sldLayoutId id="2147484138" r:id="rId14"/>
    <p:sldLayoutId id="2147484140" r:id="rId15"/>
    <p:sldLayoutId id="2147484150" r:id="rId16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227DC6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227DC6"/>
          </a:solidFill>
          <a:latin typeface="Arial" charset="0"/>
          <a:ea typeface="ＭＳ Ｐゴシック" charset="-128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227DC6"/>
          </a:solidFill>
          <a:latin typeface="Arial" charset="0"/>
          <a:ea typeface="ＭＳ Ｐゴシック" charset="-128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227DC6"/>
          </a:solidFill>
          <a:latin typeface="Arial" charset="0"/>
          <a:ea typeface="ＭＳ Ｐゴシック" charset="-128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227DC6"/>
          </a:solidFill>
          <a:latin typeface="Arial" charset="0"/>
          <a:ea typeface="ＭＳ Ｐゴシック" charset="-128"/>
          <a:cs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charset="0"/>
        <a:defRPr sz="19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defRPr sz="19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defRPr sz="19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defRPr sz="19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defRPr sz="19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Textplatzhalter 4"/>
          <p:cNvSpPr>
            <a:spLocks noGrp="1"/>
          </p:cNvSpPr>
          <p:nvPr>
            <p:ph type="body" sz="quarter" idx="16"/>
          </p:nvPr>
        </p:nvSpPr>
        <p:spPr>
          <a:xfrm>
            <a:off x="465138" y="4630738"/>
            <a:ext cx="11261725" cy="1544637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altLang="de-DE" sz="3600" noProof="0" dirty="0"/>
              <a:t>Mietstationen verwalten</a:t>
            </a:r>
          </a:p>
          <a:p>
            <a:pPr lvl="1"/>
            <a:r>
              <a:rPr lang="de-DE" altLang="de-DE" sz="2000" noProof="0" dirty="0"/>
              <a:t>UML Modellierung</a:t>
            </a:r>
            <a:br>
              <a:rPr lang="de-DE" altLang="de-DE" sz="2000" noProof="0" dirty="0"/>
            </a:br>
            <a:r>
              <a:rPr lang="de-DE" altLang="de-DE" sz="2000" noProof="0" dirty="0"/>
              <a:t>Marek Brüning, Florian </a:t>
            </a:r>
            <a:r>
              <a:rPr lang="de-DE" altLang="de-DE" sz="2000" dirty="0"/>
              <a:t>von Raesfeld, Florian </a:t>
            </a:r>
            <a:r>
              <a:rPr lang="de-DE" altLang="de-DE" sz="2000" dirty="0" err="1"/>
              <a:t>Tünte</a:t>
            </a:r>
            <a:r>
              <a:rPr lang="de-DE" altLang="de-DE" sz="2000" dirty="0"/>
              <a:t> und </a:t>
            </a:r>
            <a:r>
              <a:rPr lang="de-DE" altLang="de-DE" sz="2000" noProof="0" dirty="0"/>
              <a:t>Benedikt Schwering </a:t>
            </a:r>
          </a:p>
        </p:txBody>
      </p:sp>
      <p:pic>
        <p:nvPicPr>
          <p:cNvPr id="3" name="Bildplatzhalter 2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33" t="45862" r="18911" b="37189"/>
          <a:stretch/>
        </p:blipFill>
        <p:spPr>
          <a:xfrm>
            <a:off x="469107" y="1481138"/>
            <a:ext cx="11257756" cy="2908800"/>
          </a:xfr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7" name="Textplatzhalter 7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altLang="de-DE" sz="2200" noProof="0" dirty="0">
                <a:solidFill>
                  <a:schemeClr val="bg1">
                    <a:lumMod val="50000"/>
                  </a:schemeClr>
                </a:solidFill>
              </a:rPr>
              <a:t>Anwendungsfall</a:t>
            </a:r>
          </a:p>
          <a:p>
            <a:r>
              <a:rPr lang="de-DE" altLang="de-DE" noProof="0" dirty="0"/>
              <a:t>Allgemeine Verwaltung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6C1AAE5-5189-44C4-920A-B667337F19D5}"/>
              </a:ext>
            </a:extLst>
          </p:cNvPr>
          <p:cNvSpPr/>
          <p:nvPr/>
        </p:nvSpPr>
        <p:spPr bwMode="auto">
          <a:xfrm>
            <a:off x="1345721" y="1552754"/>
            <a:ext cx="2786332" cy="3719637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b="1" dirty="0">
                <a:solidFill>
                  <a:schemeClr val="tx1"/>
                </a:solidFill>
              </a:rPr>
              <a:t>Mietstation verwalten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>
              <a:solidFill>
                <a:schemeClr val="tx1"/>
              </a:solidFill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A516DDB3-A338-4CBE-BAFA-EB141C4B211F}"/>
              </a:ext>
            </a:extLst>
          </p:cNvPr>
          <p:cNvSpPr/>
          <p:nvPr/>
        </p:nvSpPr>
        <p:spPr bwMode="auto">
          <a:xfrm>
            <a:off x="4707148" y="1552754"/>
            <a:ext cx="2786332" cy="3719637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800" b="1" dirty="0">
                <a:solidFill>
                  <a:schemeClr val="tx1"/>
                </a:solidFill>
              </a:rPr>
              <a:t>Performance-Bericht erstellen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>
              <a:solidFill>
                <a:schemeClr val="tx1"/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E69FDA7D-0141-4725-9528-65355BE82BD0}"/>
              </a:ext>
            </a:extLst>
          </p:cNvPr>
          <p:cNvSpPr/>
          <p:nvPr/>
        </p:nvSpPr>
        <p:spPr bwMode="auto">
          <a:xfrm>
            <a:off x="8068575" y="1552753"/>
            <a:ext cx="2786332" cy="3719637"/>
          </a:xfrm>
          <a:prstGeom prst="rect">
            <a:avLst/>
          </a:prstGeom>
          <a:solidFill>
            <a:schemeClr val="accent3">
              <a:lumMod val="9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800" b="1" dirty="0">
                <a:solidFill>
                  <a:schemeClr val="tx1"/>
                </a:solidFill>
              </a:rPr>
              <a:t>Personaleinsatz planen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>
              <a:solidFill>
                <a:schemeClr val="tx1"/>
              </a:solidFill>
            </a:endParaRP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A66850C4-714E-4D71-8988-725568006990}"/>
              </a:ext>
            </a:extLst>
          </p:cNvPr>
          <p:cNvSpPr/>
          <p:nvPr/>
        </p:nvSpPr>
        <p:spPr bwMode="auto">
          <a:xfrm>
            <a:off x="1529267" y="4523362"/>
            <a:ext cx="2419239" cy="642024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200" dirty="0">
                <a:solidFill>
                  <a:schemeClr val="bg1"/>
                </a:solidFill>
              </a:rPr>
              <a:t>2. Aktivitätsdiagramm</a:t>
            </a:r>
            <a:endParaRPr lang="de-DE" sz="1800" dirty="0">
              <a:solidFill>
                <a:schemeClr val="bg1"/>
              </a:solidFill>
            </a:endParaRP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AB548300-DA42-42E5-A3EF-94AC57514220}"/>
              </a:ext>
            </a:extLst>
          </p:cNvPr>
          <p:cNvSpPr/>
          <p:nvPr/>
        </p:nvSpPr>
        <p:spPr bwMode="auto">
          <a:xfrm>
            <a:off x="4889553" y="3774333"/>
            <a:ext cx="2419239" cy="642024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200" dirty="0">
                <a:solidFill>
                  <a:schemeClr val="bg1"/>
                </a:solidFill>
              </a:rPr>
              <a:t>3. Use-Case Diagramm</a:t>
            </a:r>
            <a:endParaRPr lang="de-DE" sz="1800" dirty="0">
              <a:solidFill>
                <a:schemeClr val="bg1"/>
              </a:solidFill>
            </a:endParaRPr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1B542F8D-5D5E-475B-BBB5-981B534DA96E}"/>
              </a:ext>
            </a:extLst>
          </p:cNvPr>
          <p:cNvSpPr/>
          <p:nvPr/>
        </p:nvSpPr>
        <p:spPr bwMode="auto">
          <a:xfrm>
            <a:off x="4889554" y="4523362"/>
            <a:ext cx="2419239" cy="642024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200" dirty="0">
                <a:solidFill>
                  <a:schemeClr val="bg1"/>
                </a:solidFill>
              </a:rPr>
              <a:t>4. Sequenzdiagramm</a:t>
            </a:r>
            <a:endParaRPr lang="de-DE" sz="1800" dirty="0">
              <a:solidFill>
                <a:schemeClr val="bg1"/>
              </a:solidFill>
            </a:endParaRPr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345C6E26-C0C3-42AB-ACC9-ED462D710344}"/>
              </a:ext>
            </a:extLst>
          </p:cNvPr>
          <p:cNvSpPr/>
          <p:nvPr/>
        </p:nvSpPr>
        <p:spPr bwMode="auto">
          <a:xfrm>
            <a:off x="1345721" y="5522069"/>
            <a:ext cx="9509185" cy="642024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600" dirty="0">
                <a:solidFill>
                  <a:schemeClr val="bg1"/>
                </a:solidFill>
              </a:rPr>
              <a:t>1. Klassendiagramm</a:t>
            </a:r>
            <a:endParaRPr lang="de-DE" sz="1800" dirty="0">
              <a:solidFill>
                <a:schemeClr val="bg1"/>
              </a:solidFill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ACAC59A8-B439-4A68-A2EF-CA1A5AC3F3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3404" y="1552753"/>
            <a:ext cx="1419225" cy="1419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1"/>
  <p:tag name="MIO_CHANGETRACKING" val="true"/>
  <p:tag name="MIO_EK" val="579970"/>
  <p:tag name="MIO_UPDATE" val="True"/>
  <p:tag name="MIO_VERSION" val="17.02.2016 14:13:20"/>
  <p:tag name="MIO_DBID" val="598A5C07-C27D-430B-A8FC-FA667BE665A4"/>
  <p:tag name="MIO_LASTDOWNLOADED" val="15.07.2016 13:45:49"/>
  <p:tag name="MIO_OBJECTNAME" val="DE 16:9 - Siemens"/>
  <p:tag name="MIO_LASTEDITORNAME" val="(Dietmar Kluge)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6"/>
  <p:tag name="MIO_SHOW_DATE" val="True"/>
  <p:tag name="MIO_SHOW_FOOTER" val="True"/>
  <p:tag name="MIO_SHOW_PAGENUMBER" val="True"/>
  <p:tag name="MIO_AVOID_BLANK_LAYOUT" val="True"/>
  <p:tag name="MIO_NUMBER_OF_VALID_LAYOUTS" val="23"/>
  <p:tag name="MIO_MST_COLOR_1" val="0,0,0,Dunkel 1"/>
  <p:tag name="MIO_MST_COLOR_2" val="255,255,255,Hell 1"/>
  <p:tag name="MIO_MST_COLOR_3" val="0,0,0,Dunkel 2"/>
  <p:tag name="MIO_MST_COLOR_4" val="173,190,203,Hell 2"/>
  <p:tag name="MIO_MST_COLOR_5" val="135,155,170,Akzent 1"/>
  <p:tag name="MIO_MST_COLOR_6" val="190,205,215,Akzent 2"/>
  <p:tag name="MIO_MST_COLOR_7" val="235,120,10,Akzent 3"/>
  <p:tag name="MIO_MST_COLOR_8" val="100,25,70,Akzent 4"/>
  <p:tag name="MIO_MST_COLOR_9" val="0,95,135,Akzent 5"/>
  <p:tag name="MIO_MST_COLOR_10" val="100,125,45,Akzent 6"/>
  <p:tag name="MIO_MST_COLOR_11" val="235,120,10,"/>
  <p:tag name="MIO_MST_COLOR_12" val="100,25,70,"/>
  <p:tag name="MIO_HDS" val="True"/>
  <p:tag name="MIO_EK" val="579030"/>
  <p:tag name="MIO_UPDATE" val="True"/>
  <p:tag name="MIO_VERSION" val="27.01.2016 18:24:05"/>
  <p:tag name="MIO_DBID" val="598A5C07-C27D-430B-A8FC-FA667BE665A4"/>
  <p:tag name="MIO_LASTDOWNLOADED" val="27.01.2016 18:36:41"/>
  <p:tag name="MIO_OBJECTNAME" val="DE 16:9 - Siemens 201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ukJvgEgkeebnnzsRpp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heme/theme1.xml><?xml version="1.0" encoding="utf-8"?>
<a:theme xmlns:a="http://schemas.openxmlformats.org/drawingml/2006/main" name="1_Flender Titelfolien">
  <a:themeElements>
    <a:clrScheme name="Flender">
      <a:dk1>
        <a:srgbClr val="000000"/>
      </a:dk1>
      <a:lt1>
        <a:srgbClr val="FFFFFF"/>
      </a:lt1>
      <a:dk2>
        <a:srgbClr val="227DC6"/>
      </a:dk2>
      <a:lt2>
        <a:srgbClr val="FFFFFF"/>
      </a:lt2>
      <a:accent1>
        <a:srgbClr val="227DC6"/>
      </a:accent1>
      <a:accent2>
        <a:srgbClr val="90B3E2"/>
      </a:accent2>
      <a:accent3>
        <a:srgbClr val="E0ECFA"/>
      </a:accent3>
      <a:accent4>
        <a:srgbClr val="C6C9CC"/>
      </a:accent4>
      <a:accent5>
        <a:srgbClr val="919699"/>
      </a:accent5>
      <a:accent6>
        <a:srgbClr val="697075"/>
      </a:accent6>
      <a:hlink>
        <a:srgbClr val="CBA021"/>
      </a:hlink>
      <a:folHlink>
        <a:srgbClr val="880822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</a:defRPr>
        </a:defPPr>
      </a:lstStyle>
    </a:txDef>
  </a:objectDefaults>
  <a:extraClrSchemeLst/>
  <a:custClrLst>
    <a:custClr name="FL-blue-100%">
      <a:srgbClr val="227DC6"/>
    </a:custClr>
    <a:custClr name="FL-blue-80%">
      <a:srgbClr val="6095D3"/>
    </a:custClr>
    <a:custClr name="FL-blue-60%">
      <a:srgbClr val="90B3E2"/>
    </a:custClr>
    <a:custClr name="FL-blue-40%">
      <a:srgbClr val="BACFEF"/>
    </a:custClr>
    <a:custClr name="FL-blue-20%">
      <a:srgbClr val="E0ECFA"/>
    </a:custClr>
    <a:custClr name="FL-darkgrey">
      <a:srgbClr val="697075"/>
    </a:custClr>
    <a:custClr name="FL-mediumgrey">
      <a:srgbClr val="919699"/>
    </a:custClr>
    <a:custClr name="FL-lightgrey">
      <a:srgbClr val="C6C9CC"/>
    </a:custClr>
    <a:custClr name="FL-darkblue-100%">
      <a:srgbClr val="003E62"/>
    </a:custClr>
    <a:custClr name="FL-green-100%">
      <a:srgbClr val="839545"/>
    </a:custClr>
    <a:custClr name="FL-orange-100%">
      <a:srgbClr val="CBA021"/>
    </a:custClr>
    <a:custClr name="FL-red-100%">
      <a:srgbClr val="880840"/>
    </a:custClr>
    <a:custClr name="White">
      <a:srgbClr val="FFFFFF"/>
    </a:custClr>
    <a:custClr name="Black">
      <a:srgbClr val="000000"/>
    </a:custClr>
  </a:custClrLst>
</a:theme>
</file>

<file path=ppt/theme/theme2.xml><?xml version="1.0" encoding="utf-8"?>
<a:theme xmlns:a="http://schemas.openxmlformats.org/drawingml/2006/main" name="3_Flender Titelfolien">
  <a:themeElements>
    <a:clrScheme name="Flender">
      <a:dk1>
        <a:srgbClr val="000000"/>
      </a:dk1>
      <a:lt1>
        <a:srgbClr val="FFFFFF"/>
      </a:lt1>
      <a:dk2>
        <a:srgbClr val="227DC6"/>
      </a:dk2>
      <a:lt2>
        <a:srgbClr val="FFFFFF"/>
      </a:lt2>
      <a:accent1>
        <a:srgbClr val="227DC6"/>
      </a:accent1>
      <a:accent2>
        <a:srgbClr val="90B3E2"/>
      </a:accent2>
      <a:accent3>
        <a:srgbClr val="E0ECFA"/>
      </a:accent3>
      <a:accent4>
        <a:srgbClr val="C6C9CC"/>
      </a:accent4>
      <a:accent5>
        <a:srgbClr val="919699"/>
      </a:accent5>
      <a:accent6>
        <a:srgbClr val="697075"/>
      </a:accent6>
      <a:hlink>
        <a:srgbClr val="CBA021"/>
      </a:hlink>
      <a:folHlink>
        <a:srgbClr val="880822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</a:defRPr>
        </a:defPPr>
      </a:lstStyle>
    </a:txDef>
  </a:objectDefaults>
  <a:extraClrSchemeLst/>
  <a:custClrLst>
    <a:custClr name="FL-blue-100%">
      <a:srgbClr val="227DC6"/>
    </a:custClr>
    <a:custClr name="FL-blue-80%">
      <a:srgbClr val="6095D3"/>
    </a:custClr>
    <a:custClr name="FL-blue-60%">
      <a:srgbClr val="90B3E2"/>
    </a:custClr>
    <a:custClr name="FL-blue-40%">
      <a:srgbClr val="BACFEF"/>
    </a:custClr>
    <a:custClr name="FL-blue-20%">
      <a:srgbClr val="E0ECFA"/>
    </a:custClr>
    <a:custClr name="FL-darkgrey">
      <a:srgbClr val="697075"/>
    </a:custClr>
    <a:custClr name="FL-mediumgrey">
      <a:srgbClr val="919699"/>
    </a:custClr>
    <a:custClr name="FL-lightgrey">
      <a:srgbClr val="C6C9CC"/>
    </a:custClr>
    <a:custClr name="FL-darkblue-100%">
      <a:srgbClr val="003E62"/>
    </a:custClr>
    <a:custClr name="FL-green-100%">
      <a:srgbClr val="839545"/>
    </a:custClr>
    <a:custClr name="FL-orange-100%">
      <a:srgbClr val="CBA021"/>
    </a:custClr>
    <a:custClr name="FL-red-100%">
      <a:srgbClr val="880840"/>
    </a:custClr>
    <a:custClr name="White">
      <a:srgbClr val="FFFFFF"/>
    </a:custClr>
    <a:custClr name="Black">
      <a:srgbClr val="000000"/>
    </a:custClr>
  </a:custClrLst>
</a:theme>
</file>

<file path=ppt/theme/theme3.xml><?xml version="1.0" encoding="utf-8"?>
<a:theme xmlns:a="http://schemas.openxmlformats.org/drawingml/2006/main" name="4_Flender Titelfolien">
  <a:themeElements>
    <a:clrScheme name="Flender">
      <a:dk1>
        <a:srgbClr val="000000"/>
      </a:dk1>
      <a:lt1>
        <a:srgbClr val="FFFFFF"/>
      </a:lt1>
      <a:dk2>
        <a:srgbClr val="227DC6"/>
      </a:dk2>
      <a:lt2>
        <a:srgbClr val="FFFFFF"/>
      </a:lt2>
      <a:accent1>
        <a:srgbClr val="227DC6"/>
      </a:accent1>
      <a:accent2>
        <a:srgbClr val="90B3E2"/>
      </a:accent2>
      <a:accent3>
        <a:srgbClr val="E0ECFA"/>
      </a:accent3>
      <a:accent4>
        <a:srgbClr val="C6C9CC"/>
      </a:accent4>
      <a:accent5>
        <a:srgbClr val="919699"/>
      </a:accent5>
      <a:accent6>
        <a:srgbClr val="697075"/>
      </a:accent6>
      <a:hlink>
        <a:srgbClr val="CBA021"/>
      </a:hlink>
      <a:folHlink>
        <a:srgbClr val="880822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</a:defRPr>
        </a:defPPr>
      </a:lstStyle>
    </a:txDef>
  </a:objectDefaults>
  <a:extraClrSchemeLst/>
  <a:custClrLst>
    <a:custClr name="FL-blue-100%">
      <a:srgbClr val="227DC6"/>
    </a:custClr>
    <a:custClr name="FL-blue-80%">
      <a:srgbClr val="6095D3"/>
    </a:custClr>
    <a:custClr name="FL-blue-60%">
      <a:srgbClr val="90B3E2"/>
    </a:custClr>
    <a:custClr name="FL-blue-40%">
      <a:srgbClr val="BACFEF"/>
    </a:custClr>
    <a:custClr name="FL-blue-20%">
      <a:srgbClr val="E0ECFA"/>
    </a:custClr>
    <a:custClr name="FL-darkgrey">
      <a:srgbClr val="697075"/>
    </a:custClr>
    <a:custClr name="FL-mediumgrey">
      <a:srgbClr val="919699"/>
    </a:custClr>
    <a:custClr name="FL-lightgrey">
      <a:srgbClr val="C6C9CC"/>
    </a:custClr>
    <a:custClr name="FL-darkblue-100%">
      <a:srgbClr val="003E62"/>
    </a:custClr>
    <a:custClr name="FL-green-100%">
      <a:srgbClr val="839545"/>
    </a:custClr>
    <a:custClr name="FL-orange-100%">
      <a:srgbClr val="CBA021"/>
    </a:custClr>
    <a:custClr name="FL-red-100%">
      <a:srgbClr val="880840"/>
    </a:custClr>
    <a:custClr name="White">
      <a:srgbClr val="FFFFFF"/>
    </a:custClr>
    <a:custClr name="Black">
      <a:srgbClr val="000000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Four objects + Navigation</Name>
  <PpLayout>32</PpLayout>
  <Index>22</Index>
</p4ppTags>
</file>

<file path=customXml/item10.xml><?xml version="1.0" encoding="utf-8"?>
<p4ppTags>
  <Name>Two rows</Name>
  <PpLayout>32</PpLayout>
  <Index>13</Index>
</p4ppTags>
</file>

<file path=customXml/item11.xml><?xml version="1.0" encoding="utf-8"?>
<p4ppTags>
  <Name>Two rows + Navigation</Name>
  <PpLayout>32</PpLayout>
  <Index>21</Index>
</p4ppTags>
</file>

<file path=customXml/item1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13.xml><?xml version="1.0" encoding="utf-8"?>
<p4ppTags/>
</file>

<file path=customXml/item14.xml><?xml version="1.0" encoding="utf-8"?>
<p4ppTags>
  <Name>One object (large)</Name>
  <PpLayout>16</PpLayout>
  <Index>10</Index>
</p4ppTags>
</file>

<file path=customXml/item15.xml><?xml version="1.0" encoding="utf-8"?>
<p4ppTags>
  <Name>Two columns</Name>
  <PpLayout>29</PpLayout>
  <Index>12</Index>
</p4ppTags>
</file>

<file path=customXml/item16.xml><?xml version="1.0" encoding="utf-8"?>
<p4ppTags>
  <Name>Three columns + Navigation</Name>
  <PpLayout>32</PpLayout>
  <Index>20</Index>
</p4ppTags>
</file>

<file path=customXml/item17.xml><?xml version="1.0" encoding="utf-8"?>
<ct:contentTypeSchema xmlns:ct="http://schemas.microsoft.com/office/2006/metadata/contentType" xmlns:ma="http://schemas.microsoft.com/office/2006/metadata/properties/metaAttributes" ct:_="" ma:_="" ma:contentTypeName="Bild" ma:contentTypeID="0x01010200D475E06177B9A440B36E9419FABAEDF7" ma:contentTypeVersion="10" ma:contentTypeDescription="Ein Bild oder eine Fotografie hochladen." ma:contentTypeScope="" ma:versionID="f3c7e6176f11a34c6829d4b5d0eaaa64">
  <xsd:schema xmlns:xsd="http://www.w3.org/2001/XMLSchema" xmlns:xs="http://www.w3.org/2001/XMLSchema" xmlns:p="http://schemas.microsoft.com/office/2006/metadata/properties" xmlns:ns1="http://schemas.microsoft.com/sharepoint/v3" xmlns:ns2="d8b6b5ec-a6fc-4496-9470-5ce735c4661f" xmlns:ns3="a7979c99-deba-4b7a-b3f3-730b3f773bf5" targetNamespace="http://schemas.microsoft.com/office/2006/metadata/properties" ma:root="true" ma:fieldsID="90fa8a48c43eabf798b5a69d18fa7887" ns1:_="" ns2:_="" ns3:_="">
    <xsd:import namespace="http://schemas.microsoft.com/sharepoint/v3"/>
    <xsd:import namespace="d8b6b5ec-a6fc-4496-9470-5ce735c4661f"/>
    <xsd:import namespace="a7979c99-deba-4b7a-b3f3-730b3f773bf5"/>
    <xsd:element name="properties">
      <xsd:complexType>
        <xsd:sequence>
          <xsd:element name="documentManagement">
            <xsd:complexType>
              <xsd:all>
                <xsd:element ref="ns1:ImageWidth" minOccurs="0"/>
                <xsd:element ref="ns1:ImageHeight" minOccurs="0"/>
                <xsd:element ref="ns1:ImageCreateDate" minOccurs="0"/>
                <xsd:element ref="ns1:Description" minOccurs="0"/>
                <xsd:element ref="ns1:ThumbnailExists" minOccurs="0"/>
                <xsd:element ref="ns1:PreviewExists" minOccurs="0"/>
                <xsd:element ref="ns1:AlternateThumbnailUrl" minOccurs="0"/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ImageWidth" ma:index="7" nillable="true" ma:displayName="Bildbreite" ma:internalName="ImageWidth" ma:readOnly="true">
      <xsd:simpleType>
        <xsd:restriction base="dms:Unknown"/>
      </xsd:simpleType>
    </xsd:element>
    <xsd:element name="ImageHeight" ma:index="8" nillable="true" ma:displayName="Bildhöhe" ma:internalName="ImageHeight" ma:readOnly="true">
      <xsd:simpleType>
        <xsd:restriction base="dms:Unknown"/>
      </xsd:simpleType>
    </xsd:element>
    <xsd:element name="ImageCreateDate" ma:index="9" nillable="true" ma:displayName="Bilderstellungsdatum" ma:format="DateTime" ma:hidden="true" ma:internalName="ImageCreateDate">
      <xsd:simpleType>
        <xsd:restriction base="dms:DateTime"/>
      </xsd:simpleType>
    </xsd:element>
    <xsd:element name="Description" ma:index="10" nillable="true" ma:displayName="Beschreibung" ma:description="Wird als Alternativtext für das Bild verwendet." ma:hidden="true" ma:internalName="Description">
      <xsd:simpleType>
        <xsd:restriction base="dms:Note">
          <xsd:maxLength value="255"/>
        </xsd:restriction>
      </xsd:simpleType>
    </xsd:element>
    <xsd:element name="ThumbnailExists" ma:index="11" nillable="true" ma:displayName="Miniaturansicht vorhanden" ma:default="FALSE" ma:hidden="true" ma:internalName="ThumbnailExists" ma:readOnly="true">
      <xsd:simpleType>
        <xsd:restriction base="dms:Boolean"/>
      </xsd:simpleType>
    </xsd:element>
    <xsd:element name="PreviewExists" ma:index="12" nillable="true" ma:displayName="Vorschau vorhanden" ma:default="FALSE" ma:hidden="true" ma:internalName="PreviewExists" ma:readOnly="true">
      <xsd:simpleType>
        <xsd:restriction base="dms:Boolean"/>
      </xsd:simpleType>
    </xsd:element>
    <xsd:element name="AlternateThumbnailUrl" ma:index="13" nillable="true" ma:displayName="Vorschaubild-URL" ma:format="Image" ma:hidden="true" ma:internalName="AlternateThumbnailUrl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b6b5ec-a6fc-4496-9470-5ce735c4661f" elementFormDefault="qualified">
    <xsd:import namespace="http://schemas.microsoft.com/office/2006/documentManagement/types"/>
    <xsd:import namespace="http://schemas.microsoft.com/office/infopath/2007/PartnerControls"/>
    <xsd:element name="_dlc_DocId" ma:index="26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27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8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979c99-deba-4b7a-b3f3-730b3f773bf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2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30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5" ma:displayName="Inhaltstyp"/>
        <xsd:element ref="dc:title" minOccurs="0" maxOccurs="1" ma:index="6" ma:displayName="Titel"/>
        <xsd:element ref="dc:subject" minOccurs="0" maxOccurs="1"/>
        <xsd:element ref="dc:description" minOccurs="0" maxOccurs="1"/>
        <xsd:element name="keywords" minOccurs="0" maxOccurs="1" type="xsd:string" ma:index="14" ma:displayName="Schlüsselwörter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8.xml><?xml version="1.0" encoding="utf-8"?>
<p4ppTags>
  <Name>Four objects + Navigation</Name>
  <PpLayout>32</PpLayout>
  <Index>22</Index>
</p4ppTags>
</file>

<file path=customXml/item19.xml><?xml version="1.0" encoding="utf-8"?>
<p4ppTags>
  <Name>One object (small) + Navigation</Name>
  <PpLayout>32</PpLayout>
  <Index>18</Index>
</p4ppTags>
</file>

<file path=customXml/item2.xml><?xml version="1.0" encoding="utf-8"?>
<p4ppTags>
  <Name>Four objects + Navigation</Name>
  <PpLayout>32</PpLayout>
  <Index>22</Index>
</p4ppTags>
</file>

<file path=customXml/item20.xml><?xml version="1.0" encoding="utf-8"?>
<p4ppTags>
  <Name>One object (large)</Name>
  <PpLayout>16</PpLayout>
  <Index>10</Index>
</p4ppTags>
</file>

<file path=customXml/item21.xml><?xml version="1.0" encoding="utf-8"?>
<p4ppTags>
  <Name>Free Content + Navigation</Name>
  <PpLayout>32</PpLayout>
  <Index>16</Index>
</p4ppTags>
</file>

<file path=customXml/item22.xml><?xml version="1.0" encoding="utf-8"?>
<p4ppTags>
  <Name>Free Content + Navigation</Name>
  <PpLayout>32</PpLayout>
  <Index>16</Index>
</p4ppTags>
</file>

<file path=customXml/item23.xml><?xml version="1.0" encoding="utf-8"?>
<p4ppTags>
  <Name>Text + Index</Name>
  <PpLayout>32</PpLayout>
  <Index>8</Index>
</p4ppTags>
</file>

<file path=customXml/item24.xml><?xml version="1.0" encoding="utf-8"?>
<p4ppTags>
  <Name>Four objects</Name>
  <PpLayout>24</PpLayout>
  <Index>15</Index>
</p4ppTags>
</file>

<file path=customXml/item25.xml><?xml version="1.0" encoding="utf-8"?>
<p4ppTags/>
</file>

<file path=customXml/item26.xml><?xml version="1.0" encoding="utf-8"?>
<p4ppTags>
  <Name>Two columns + Navigation</Name>
  <PpLayout>32</PpLayout>
  <Index>19</Index>
</p4ppTags>
</file>

<file path=customXml/item27.xml><?xml version="1.0" encoding="utf-8"?>
<p4ppTags>
  <Name>Two columns</Name>
  <PpLayout>29</PpLayout>
  <Index>12</Index>
</p4ppTags>
</file>

<file path=customXml/item28.xml><?xml version="1.0" encoding="utf-8"?>
<p4ppTags>
  <Name>Three columns</Name>
  <PpLayout>32</PpLayout>
  <Index>14</Index>
</p4ppTags>
</file>

<file path=customXml/item2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lternateThumbnailUrl xmlns="http://schemas.microsoft.com/sharepoint/v3">
      <Url xsi:nil="true"/>
      <Description xsi:nil="true"/>
    </AlternateThumbnailUrl>
    <ImageCreateDate xmlns="http://schemas.microsoft.com/sharepoint/v3" xsi:nil="true"/>
    <Description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/>
</file>

<file path=customXml/item30.xml><?xml version="1.0" encoding="utf-8"?>
<p4ppTags>
  <Name>Three columns + Navigation</Name>
  <PpLayout>32</PpLayout>
  <Index>20</Index>
</p4ppTags>
</file>

<file path=customXml/item31.xml><?xml version="1.0" encoding="utf-8"?>
<p4ppTags>
  <Name>One object (small)</Name>
  <PpLayout>16</PpLayout>
  <Index>11</Index>
</p4ppTags>
</file>

<file path=customXml/item32.xml><?xml version="1.0" encoding="utf-8"?>
<p4ppTags>
  <Name>Free Content</Name>
  <PpLayout>11</PpLayout>
  <Index>9</Index>
</p4ppTags>
</file>

<file path=customXml/item33.xml><?xml version="1.0" encoding="utf-8"?>
<p4ppTags>
  <Name>Two rows + Navigation</Name>
  <PpLayout>32</PpLayout>
  <Index>21</Index>
</p4ppTags>
</file>

<file path=customXml/item34.xml><?xml version="1.0" encoding="utf-8"?>
<p4ppTags>
  <Name>Free Content</Name>
  <PpLayout>11</PpLayout>
  <Index>9</Index>
</p4ppTags>
</file>

<file path=customXml/item35.xml><?xml version="1.0" encoding="utf-8"?>
<p4ppTags>
  <Name>One object (small) + Navigation</Name>
  <PpLayout>32</PpLayout>
  <Index>18</Index>
</p4ppTags>
</file>

<file path=customXml/item36.xml><?xml version="1.0" encoding="utf-8"?>
<p4ppTags>
  <Name>Four objects + Navigation</Name>
  <PpLayout>32</PpLayout>
  <Index>22</Index>
</p4ppTags>
</file>

<file path=customXml/item37.xml><?xml version="1.0" encoding="utf-8"?>
<p4ppTags>
  <Name>Free Content</Name>
  <PpLayout>11</PpLayout>
  <Index>9</Index>
</p4ppTags>
</file>

<file path=customXml/item38.xml><?xml version="1.0" encoding="utf-8"?>
<p4ppTags>
  <Name>Three columns</Name>
  <PpLayout>32</PpLayout>
  <Index>14</Index>
</p4ppTags>
</file>

<file path=customXml/item39.xml><?xml version="1.0" encoding="utf-8"?>
<p4ppTags>
  <Name>Text + Index</Name>
  <PpLayout>32</PpLayout>
  <Index>8</Index>
</p4ppTags>
</file>

<file path=customXml/item4.xml><?xml version="1.0" encoding="utf-8"?>
<p4ppTags>
  <Name>One object (small)</Name>
  <PpLayout>16</PpLayout>
  <Index>11</Index>
</p4ppTags>
</file>

<file path=customXml/item40.xml><?xml version="1.0" encoding="utf-8"?>
<p4ppTags>
  <Name>One object (large)</Name>
  <PpLayout>16</PpLayout>
  <Index>10</Index>
</p4ppTags>
</file>

<file path=customXml/item41.xml><?xml version="1.0" encoding="utf-8"?>
<p4ppTags>
  <Name>One object (large) + Navigation</Name>
  <PpLayout>32</PpLayout>
  <Index>17</Index>
</p4ppTags>
</file>

<file path=customXml/item42.xml><?xml version="1.0" encoding="utf-8"?>
<p4ppTags>
  <Name>Two columns + Navigation</Name>
  <PpLayout>32</PpLayout>
  <Index>19</Index>
</p4ppTags>
</file>

<file path=customXml/item4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4.xml><?xml version="1.0" encoding="utf-8"?>
<p4ppTags>
  <Name>Text + Index</Name>
  <PpLayout>32</PpLayout>
  <Index>8</Index>
</p4ppTags>
</file>

<file path=customXml/item45.xml><?xml version="1.0" encoding="utf-8"?>
<p4ppTags>
  <Name>One object (small) + Navigation</Name>
  <PpLayout>32</PpLayout>
  <Index>18</Index>
</p4ppTags>
</file>

<file path=customXml/item46.xml><?xml version="1.0" encoding="utf-8"?>
<p4ppTags>
  <Name>Four objects</Name>
  <PpLayout>24</PpLayout>
  <Index>15</Index>
</p4ppTags>
</file>

<file path=customXml/item47.xml><?xml version="1.0" encoding="utf-8"?>
<p4ppTags>
  <Name>Four objects</Name>
  <PpLayout>24</PpLayout>
  <Index>15</Index>
</p4ppTags>
</file>

<file path=customXml/item48.xml><?xml version="1.0" encoding="utf-8"?>
<p4ppTags>
  <Name>Free Content + Navigation</Name>
  <PpLayout>32</PpLayout>
  <Index>16</Index>
</p4ppTags>
</file>

<file path=customXml/item49.xml><?xml version="1.0" encoding="utf-8"?>
<p4ppTags>
  <Name>Text + Index</Name>
  <PpLayout>32</PpLayout>
  <Index>8</Index>
</p4ppTags>
</file>

<file path=customXml/item5.xml><?xml version="1.0" encoding="utf-8"?>
<p4ppTags>
  <Name>One object (large) + Navigation</Name>
  <PpLayout>32</PpLayout>
  <Index>17</Index>
</p4ppTags>
</file>

<file path=customXml/item50.xml><?xml version="1.0" encoding="utf-8"?>
<p4ppTags>
  <Name>One object (small) + Navigation</Name>
  <PpLayout>32</PpLayout>
  <Index>18</Index>
</p4ppTags>
</file>

<file path=customXml/item6.xml><?xml version="1.0" encoding="utf-8"?>
<p4ppTags>
  <Name>Text + Index</Name>
  <PpLayout>32</PpLayout>
  <Index>8</Index>
</p4ppTags>
</file>

<file path=customXml/item7.xml><?xml version="1.0" encoding="utf-8"?>
<p4ppTags>
  <Name>One object (large) + Navigation</Name>
  <PpLayout>32</PpLayout>
  <Index>17</Index>
</p4ppTags>
</file>

<file path=customXml/item8.xml><?xml version="1.0" encoding="utf-8"?>
<p4ppTags>
  <Name>Four objects</Name>
  <PpLayout>24</PpLayout>
  <Index>15</Index>
</p4ppTags>
</file>

<file path=customXml/item9.xml><?xml version="1.0" encoding="utf-8"?>
<p4ppTags>
  <Name>Two rows</Name>
  <PpLayout>32</PpLayout>
  <Index>13</Index>
</p4ppTags>
</file>

<file path=customXml/itemProps1.xml><?xml version="1.0" encoding="utf-8"?>
<ds:datastoreItem xmlns:ds="http://schemas.openxmlformats.org/officeDocument/2006/customXml" ds:itemID="{EAB520BC-C6EC-457E-8AB5-55DB67C86858}">
  <ds:schemaRefs/>
</ds:datastoreItem>
</file>

<file path=customXml/itemProps10.xml><?xml version="1.0" encoding="utf-8"?>
<ds:datastoreItem xmlns:ds="http://schemas.openxmlformats.org/officeDocument/2006/customXml" ds:itemID="{38AB8DE4-FD9B-4166-BEC3-3F1753596133}">
  <ds:schemaRefs/>
</ds:datastoreItem>
</file>

<file path=customXml/itemProps11.xml><?xml version="1.0" encoding="utf-8"?>
<ds:datastoreItem xmlns:ds="http://schemas.openxmlformats.org/officeDocument/2006/customXml" ds:itemID="{6C79E4F8-DCFB-483C-880A-AEEC6AAFC838}">
  <ds:schemaRefs/>
</ds:datastoreItem>
</file>

<file path=customXml/itemProps12.xml><?xml version="1.0" encoding="utf-8"?>
<ds:datastoreItem xmlns:ds="http://schemas.openxmlformats.org/officeDocument/2006/customXml" ds:itemID="{31508D28-3564-4A34-9FA2-BC4724A768B3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d8b6b5ec-a6fc-4496-9470-5ce735c4661f"/>
    <ds:schemaRef ds:uri="http://schemas.microsoft.com/office/2006/metadata/properties"/>
    <ds:schemaRef ds:uri="http://purl.org/dc/terms/"/>
    <ds:schemaRef ds:uri="http://schemas.microsoft.com/sharepoint/v3"/>
    <ds:schemaRef ds:uri="a7979c99-deba-4b7a-b3f3-730b3f773bf5"/>
    <ds:schemaRef ds:uri="http://www.w3.org/XML/1998/namespace"/>
    <ds:schemaRef ds:uri="http://purl.org/dc/dcmitype/"/>
  </ds:schemaRefs>
</ds:datastoreItem>
</file>

<file path=customXml/itemProps13.xml><?xml version="1.0" encoding="utf-8"?>
<ds:datastoreItem xmlns:ds="http://schemas.openxmlformats.org/officeDocument/2006/customXml" ds:itemID="{572FBA73-6DBF-45DA-8282-9342320CFAB0}">
  <ds:schemaRefs/>
</ds:datastoreItem>
</file>

<file path=customXml/itemProps14.xml><?xml version="1.0" encoding="utf-8"?>
<ds:datastoreItem xmlns:ds="http://schemas.openxmlformats.org/officeDocument/2006/customXml" ds:itemID="{80661B8B-A327-44F9-823B-4D9EE0B3EC78}">
  <ds:schemaRefs/>
</ds:datastoreItem>
</file>

<file path=customXml/itemProps15.xml><?xml version="1.0" encoding="utf-8"?>
<ds:datastoreItem xmlns:ds="http://schemas.openxmlformats.org/officeDocument/2006/customXml" ds:itemID="{7EC9F8E0-B44B-4294-99D1-9A61D90AFA57}">
  <ds:schemaRefs/>
</ds:datastoreItem>
</file>

<file path=customXml/itemProps16.xml><?xml version="1.0" encoding="utf-8"?>
<ds:datastoreItem xmlns:ds="http://schemas.openxmlformats.org/officeDocument/2006/customXml" ds:itemID="{604A1C26-2A7F-4716-AC37-CF66CF17A178}">
  <ds:schemaRefs/>
</ds:datastoreItem>
</file>

<file path=customXml/itemProps17.xml><?xml version="1.0" encoding="utf-8"?>
<ds:datastoreItem xmlns:ds="http://schemas.openxmlformats.org/officeDocument/2006/customXml" ds:itemID="{E9E4AF0F-8EBC-4344-B91E-5A6D61F25C1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d8b6b5ec-a6fc-4496-9470-5ce735c4661f"/>
    <ds:schemaRef ds:uri="a7979c99-deba-4b7a-b3f3-730b3f773b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18.xml><?xml version="1.0" encoding="utf-8"?>
<ds:datastoreItem xmlns:ds="http://schemas.openxmlformats.org/officeDocument/2006/customXml" ds:itemID="{8947488F-8677-4371-A7B9-A9F5E958F934}">
  <ds:schemaRefs/>
</ds:datastoreItem>
</file>

<file path=customXml/itemProps19.xml><?xml version="1.0" encoding="utf-8"?>
<ds:datastoreItem xmlns:ds="http://schemas.openxmlformats.org/officeDocument/2006/customXml" ds:itemID="{B9FD75A0-8963-4268-8BB2-68319927415D}">
  <ds:schemaRefs/>
</ds:datastoreItem>
</file>

<file path=customXml/itemProps2.xml><?xml version="1.0" encoding="utf-8"?>
<ds:datastoreItem xmlns:ds="http://schemas.openxmlformats.org/officeDocument/2006/customXml" ds:itemID="{061F0155-14B7-4732-8F16-EC26530538C0}">
  <ds:schemaRefs/>
</ds:datastoreItem>
</file>

<file path=customXml/itemProps20.xml><?xml version="1.0" encoding="utf-8"?>
<ds:datastoreItem xmlns:ds="http://schemas.openxmlformats.org/officeDocument/2006/customXml" ds:itemID="{623A027E-FA1B-4E40-ABA3-27E1D8D5B860}">
  <ds:schemaRefs/>
</ds:datastoreItem>
</file>

<file path=customXml/itemProps21.xml><?xml version="1.0" encoding="utf-8"?>
<ds:datastoreItem xmlns:ds="http://schemas.openxmlformats.org/officeDocument/2006/customXml" ds:itemID="{E989E348-BB5E-4CA7-B1F5-7E2A4307A8FD}">
  <ds:schemaRefs/>
</ds:datastoreItem>
</file>

<file path=customXml/itemProps22.xml><?xml version="1.0" encoding="utf-8"?>
<ds:datastoreItem xmlns:ds="http://schemas.openxmlformats.org/officeDocument/2006/customXml" ds:itemID="{7CC5F709-E74B-4E5F-A728-923D5062EBEF}">
  <ds:schemaRefs/>
</ds:datastoreItem>
</file>

<file path=customXml/itemProps23.xml><?xml version="1.0" encoding="utf-8"?>
<ds:datastoreItem xmlns:ds="http://schemas.openxmlformats.org/officeDocument/2006/customXml" ds:itemID="{7E35FEDB-1F0E-4D67-A313-4AC59C26FF29}">
  <ds:schemaRefs/>
</ds:datastoreItem>
</file>

<file path=customXml/itemProps24.xml><?xml version="1.0" encoding="utf-8"?>
<ds:datastoreItem xmlns:ds="http://schemas.openxmlformats.org/officeDocument/2006/customXml" ds:itemID="{1581BFFB-B4CE-47A8-BE77-DC1339B1E5A7}">
  <ds:schemaRefs/>
</ds:datastoreItem>
</file>

<file path=customXml/itemProps25.xml><?xml version="1.0" encoding="utf-8"?>
<ds:datastoreItem xmlns:ds="http://schemas.openxmlformats.org/officeDocument/2006/customXml" ds:itemID="{1674DD19-E9FE-471B-AB71-6AEABBC9F9E0}">
  <ds:schemaRefs/>
</ds:datastoreItem>
</file>

<file path=customXml/itemProps26.xml><?xml version="1.0" encoding="utf-8"?>
<ds:datastoreItem xmlns:ds="http://schemas.openxmlformats.org/officeDocument/2006/customXml" ds:itemID="{D7BABA95-BFFE-422B-8591-3271669EEA88}">
  <ds:schemaRefs/>
</ds:datastoreItem>
</file>

<file path=customXml/itemProps27.xml><?xml version="1.0" encoding="utf-8"?>
<ds:datastoreItem xmlns:ds="http://schemas.openxmlformats.org/officeDocument/2006/customXml" ds:itemID="{1666F4C2-68F5-4840-A44A-1A646C0925A1}">
  <ds:schemaRefs/>
</ds:datastoreItem>
</file>

<file path=customXml/itemProps28.xml><?xml version="1.0" encoding="utf-8"?>
<ds:datastoreItem xmlns:ds="http://schemas.openxmlformats.org/officeDocument/2006/customXml" ds:itemID="{60452D37-A223-4B79-877E-518976911313}">
  <ds:schemaRefs/>
</ds:datastoreItem>
</file>

<file path=customXml/itemProps29.xml><?xml version="1.0" encoding="utf-8"?>
<ds:datastoreItem xmlns:ds="http://schemas.openxmlformats.org/officeDocument/2006/customXml" ds:itemID="{25CE6EFA-39D8-4B1C-B136-0913876F4D92}">
  <ds:schemaRefs>
    <ds:schemaRef ds:uri="http://purl.org/dc/elements/1.1/"/>
    <ds:schemaRef ds:uri="http://schemas.microsoft.com/sharepoint/v3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a7979c99-deba-4b7a-b3f3-730b3f773bf5"/>
    <ds:schemaRef ds:uri="d8b6b5ec-a6fc-4496-9470-5ce735c4661f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E884C92-9D86-4AEC-A7A5-3504C77CE7E6}">
  <ds:schemaRefs>
    <ds:schemaRef ds:uri="http://schemas.microsoft.com/sharepoint/v3/contenttype/forms"/>
  </ds:schemaRefs>
</ds:datastoreItem>
</file>

<file path=customXml/itemProps30.xml><?xml version="1.0" encoding="utf-8"?>
<ds:datastoreItem xmlns:ds="http://schemas.openxmlformats.org/officeDocument/2006/customXml" ds:itemID="{85D77EE6-52B7-48BE-9EDB-748F1EBB53DE}">
  <ds:schemaRefs/>
</ds:datastoreItem>
</file>

<file path=customXml/itemProps31.xml><?xml version="1.0" encoding="utf-8"?>
<ds:datastoreItem xmlns:ds="http://schemas.openxmlformats.org/officeDocument/2006/customXml" ds:itemID="{4FD15F83-82E1-4EEB-AC77-C167D007E53A}">
  <ds:schemaRefs/>
</ds:datastoreItem>
</file>

<file path=customXml/itemProps32.xml><?xml version="1.0" encoding="utf-8"?>
<ds:datastoreItem xmlns:ds="http://schemas.openxmlformats.org/officeDocument/2006/customXml" ds:itemID="{1032321B-8E16-492D-B443-67716A6DC16D}">
  <ds:schemaRefs/>
</ds:datastoreItem>
</file>

<file path=customXml/itemProps33.xml><?xml version="1.0" encoding="utf-8"?>
<ds:datastoreItem xmlns:ds="http://schemas.openxmlformats.org/officeDocument/2006/customXml" ds:itemID="{93163C92-B9EB-4DBA-828D-312DCC4C1410}">
  <ds:schemaRefs/>
</ds:datastoreItem>
</file>

<file path=customXml/itemProps34.xml><?xml version="1.0" encoding="utf-8"?>
<ds:datastoreItem xmlns:ds="http://schemas.openxmlformats.org/officeDocument/2006/customXml" ds:itemID="{D8097D0C-BE3E-4AEC-9593-65CFCCB19297}">
  <ds:schemaRefs/>
</ds:datastoreItem>
</file>

<file path=customXml/itemProps35.xml><?xml version="1.0" encoding="utf-8"?>
<ds:datastoreItem xmlns:ds="http://schemas.openxmlformats.org/officeDocument/2006/customXml" ds:itemID="{D9FE249F-833E-4CF0-BECB-552D01D7DC9E}">
  <ds:schemaRefs/>
</ds:datastoreItem>
</file>

<file path=customXml/itemProps36.xml><?xml version="1.0" encoding="utf-8"?>
<ds:datastoreItem xmlns:ds="http://schemas.openxmlformats.org/officeDocument/2006/customXml" ds:itemID="{41CCB898-6BC5-4E82-B032-41DA4C6DA685}">
  <ds:schemaRefs/>
</ds:datastoreItem>
</file>

<file path=customXml/itemProps37.xml><?xml version="1.0" encoding="utf-8"?>
<ds:datastoreItem xmlns:ds="http://schemas.openxmlformats.org/officeDocument/2006/customXml" ds:itemID="{6DEBB134-AEA1-4183-B01D-33F890EEC98A}">
  <ds:schemaRefs/>
</ds:datastoreItem>
</file>

<file path=customXml/itemProps38.xml><?xml version="1.0" encoding="utf-8"?>
<ds:datastoreItem xmlns:ds="http://schemas.openxmlformats.org/officeDocument/2006/customXml" ds:itemID="{15CF3461-70D1-4B54-AFAB-DAFDA0A238CD}">
  <ds:schemaRefs/>
</ds:datastoreItem>
</file>

<file path=customXml/itemProps39.xml><?xml version="1.0" encoding="utf-8"?>
<ds:datastoreItem xmlns:ds="http://schemas.openxmlformats.org/officeDocument/2006/customXml" ds:itemID="{F26BF11F-11CE-4468-9B29-5381BA3896EF}">
  <ds:schemaRefs/>
</ds:datastoreItem>
</file>

<file path=customXml/itemProps4.xml><?xml version="1.0" encoding="utf-8"?>
<ds:datastoreItem xmlns:ds="http://schemas.openxmlformats.org/officeDocument/2006/customXml" ds:itemID="{1618AA06-B22E-4D19-9680-0D7830426729}">
  <ds:schemaRefs/>
</ds:datastoreItem>
</file>

<file path=customXml/itemProps40.xml><?xml version="1.0" encoding="utf-8"?>
<ds:datastoreItem xmlns:ds="http://schemas.openxmlformats.org/officeDocument/2006/customXml" ds:itemID="{A0DA68F1-0C27-4B9B-8770-063E2F0245F0}">
  <ds:schemaRefs/>
</ds:datastoreItem>
</file>

<file path=customXml/itemProps41.xml><?xml version="1.0" encoding="utf-8"?>
<ds:datastoreItem xmlns:ds="http://schemas.openxmlformats.org/officeDocument/2006/customXml" ds:itemID="{B27F640E-84DF-4F97-BC70-D045F1E6594F}">
  <ds:schemaRefs/>
</ds:datastoreItem>
</file>

<file path=customXml/itemProps42.xml><?xml version="1.0" encoding="utf-8"?>
<ds:datastoreItem xmlns:ds="http://schemas.openxmlformats.org/officeDocument/2006/customXml" ds:itemID="{01BCD006-2301-4376-8C9A-0124472EE261}">
  <ds:schemaRefs/>
</ds:datastoreItem>
</file>

<file path=customXml/itemProps43.xml><?xml version="1.0" encoding="utf-8"?>
<ds:datastoreItem xmlns:ds="http://schemas.openxmlformats.org/officeDocument/2006/customXml" ds:itemID="{7E1657E9-E77F-4BDB-917C-A93B8E0B9C25}">
  <ds:schemaRefs>
    <ds:schemaRef ds:uri="http://schemas.microsoft.com/sharepoint/events"/>
  </ds:schemaRefs>
</ds:datastoreItem>
</file>

<file path=customXml/itemProps44.xml><?xml version="1.0" encoding="utf-8"?>
<ds:datastoreItem xmlns:ds="http://schemas.openxmlformats.org/officeDocument/2006/customXml" ds:itemID="{19134194-BE48-42AD-A3BA-0F3F553401A9}">
  <ds:schemaRefs/>
</ds:datastoreItem>
</file>

<file path=customXml/itemProps45.xml><?xml version="1.0" encoding="utf-8"?>
<ds:datastoreItem xmlns:ds="http://schemas.openxmlformats.org/officeDocument/2006/customXml" ds:itemID="{D46F0270-1190-4E3E-ADC0-A4C89DC6A23D}">
  <ds:schemaRefs/>
</ds:datastoreItem>
</file>

<file path=customXml/itemProps46.xml><?xml version="1.0" encoding="utf-8"?>
<ds:datastoreItem xmlns:ds="http://schemas.openxmlformats.org/officeDocument/2006/customXml" ds:itemID="{2286C891-E1E5-489F-89C3-7EF132500CA1}">
  <ds:schemaRefs/>
</ds:datastoreItem>
</file>

<file path=customXml/itemProps47.xml><?xml version="1.0" encoding="utf-8"?>
<ds:datastoreItem xmlns:ds="http://schemas.openxmlformats.org/officeDocument/2006/customXml" ds:itemID="{852B9EF6-0D64-45A5-B116-711E7B640C61}">
  <ds:schemaRefs/>
</ds:datastoreItem>
</file>

<file path=customXml/itemProps48.xml><?xml version="1.0" encoding="utf-8"?>
<ds:datastoreItem xmlns:ds="http://schemas.openxmlformats.org/officeDocument/2006/customXml" ds:itemID="{844B3BAE-C710-4301-8F19-C4939F5E6C03}">
  <ds:schemaRefs/>
</ds:datastoreItem>
</file>

<file path=customXml/itemProps49.xml><?xml version="1.0" encoding="utf-8"?>
<ds:datastoreItem xmlns:ds="http://schemas.openxmlformats.org/officeDocument/2006/customXml" ds:itemID="{E3380EE4-9761-4ED1-948E-D24773C23618}">
  <ds:schemaRefs/>
</ds:datastoreItem>
</file>

<file path=customXml/itemProps5.xml><?xml version="1.0" encoding="utf-8"?>
<ds:datastoreItem xmlns:ds="http://schemas.openxmlformats.org/officeDocument/2006/customXml" ds:itemID="{E396ED11-9990-4631-9B63-D320ECD4883D}">
  <ds:schemaRefs/>
</ds:datastoreItem>
</file>

<file path=customXml/itemProps50.xml><?xml version="1.0" encoding="utf-8"?>
<ds:datastoreItem xmlns:ds="http://schemas.openxmlformats.org/officeDocument/2006/customXml" ds:itemID="{5E396725-9907-4BEF-AED3-53B31F94D162}">
  <ds:schemaRefs/>
</ds:datastoreItem>
</file>

<file path=customXml/itemProps6.xml><?xml version="1.0" encoding="utf-8"?>
<ds:datastoreItem xmlns:ds="http://schemas.openxmlformats.org/officeDocument/2006/customXml" ds:itemID="{8E679A1C-59DF-447D-B1B5-4292F99625CE}">
  <ds:schemaRefs/>
</ds:datastoreItem>
</file>

<file path=customXml/itemProps7.xml><?xml version="1.0" encoding="utf-8"?>
<ds:datastoreItem xmlns:ds="http://schemas.openxmlformats.org/officeDocument/2006/customXml" ds:itemID="{DF06C1C7-74EE-4276-9A6B-6DB954A8A2DB}">
  <ds:schemaRefs/>
</ds:datastoreItem>
</file>

<file path=customXml/itemProps8.xml><?xml version="1.0" encoding="utf-8"?>
<ds:datastoreItem xmlns:ds="http://schemas.openxmlformats.org/officeDocument/2006/customXml" ds:itemID="{01724334-0230-43D9-A338-9A6674F7E76B}">
  <ds:schemaRefs/>
</ds:datastoreItem>
</file>

<file path=customXml/itemProps9.xml><?xml version="1.0" encoding="utf-8"?>
<ds:datastoreItem xmlns:ds="http://schemas.openxmlformats.org/officeDocument/2006/customXml" ds:itemID="{01E219AD-E7E9-46A8-978F-F3D5677772F7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3</Words>
  <Application>Microsoft Office PowerPoint</Application>
  <PresentationFormat>Benutzerdefiniert</PresentationFormat>
  <Paragraphs>13</Paragraphs>
  <Slides>2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5" baseType="lpstr">
      <vt:lpstr>Arial</vt:lpstr>
      <vt:lpstr>Wingdings</vt:lpstr>
      <vt:lpstr>1_Flender Titelfolien</vt:lpstr>
      <vt:lpstr>PowerPoint-Präsentation</vt:lpstr>
      <vt:lpstr>PowerPoint-Präsentation</vt:lpstr>
    </vt:vector>
  </TitlesOfParts>
  <Manager>benedikt.schwering@flender-group.com</Manager>
  <Company>Flender GmbH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lgemeine Verwaltung</dc:title>
  <dc:creator>benedikt.schwering@flender-group.com</dc:creator>
  <cp:keywords/>
  <cp:lastModifiedBy>Benedikt Schwering</cp:lastModifiedBy>
  <cp:revision>926</cp:revision>
  <cp:lastPrinted>2016-09-30T11:13:28Z</cp:lastPrinted>
  <dcterms:created xsi:type="dcterms:W3CDTF">2006-04-07T10:01:45Z</dcterms:created>
  <dcterms:modified xsi:type="dcterms:W3CDTF">2022-02-04T08:58:43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_AdHocReviewCycleID">
    <vt:i4>-481152320</vt:i4>
  </property>
  <property fmtid="{D5CDD505-2E9C-101B-9397-08002B2CF9AE}" pid="7" name="_NewReviewCycle">
    <vt:lpwstr/>
  </property>
  <property fmtid="{D5CDD505-2E9C-101B-9397-08002B2CF9AE}" pid="8" name="_EmailSubject">
    <vt:lpwstr>Flender-Logo als Vektorgrafik</vt:lpwstr>
  </property>
  <property fmtid="{D5CDD505-2E9C-101B-9397-08002B2CF9AE}" pid="9" name="_AuthorEmail">
    <vt:lpwstr>mandy.deckers@siemens.com</vt:lpwstr>
  </property>
  <property fmtid="{D5CDD505-2E9C-101B-9397-08002B2CF9AE}" pid="10" name="_AuthorEmailDisplayName">
    <vt:lpwstr>Deckers, Mandy (PD MD ST&amp;MK)</vt:lpwstr>
  </property>
  <property fmtid="{D5CDD505-2E9C-101B-9397-08002B2CF9AE}" pid="11" name="_PreviousAdHocReviewCycleID">
    <vt:i4>-777230464</vt:i4>
  </property>
  <property fmtid="{D5CDD505-2E9C-101B-9397-08002B2CF9AE}" pid="12" name="Document Confidentiality">
    <vt:lpwstr>Restricted</vt:lpwstr>
  </property>
  <property fmtid="{D5CDD505-2E9C-101B-9397-08002B2CF9AE}" pid="13" name="Document_Confidentiality">
    <vt:lpwstr>Restricted</vt:lpwstr>
  </property>
  <property fmtid="{D5CDD505-2E9C-101B-9397-08002B2CF9AE}" pid="14" name="sodocoClasLang">
    <vt:lpwstr>Intern</vt:lpwstr>
  </property>
  <property fmtid="{D5CDD505-2E9C-101B-9397-08002B2CF9AE}" pid="15" name="sodocoClasLangId">
    <vt:i4>2</vt:i4>
  </property>
  <property fmtid="{D5CDD505-2E9C-101B-9397-08002B2CF9AE}" pid="16" name="sodocoClasId">
    <vt:i4>1</vt:i4>
  </property>
  <property fmtid="{D5CDD505-2E9C-101B-9397-08002B2CF9AE}" pid="17" name="ContentTypeId">
    <vt:lpwstr>0x01010200D475E06177B9A440B36E9419FABAEDF7</vt:lpwstr>
  </property>
  <property fmtid="{D5CDD505-2E9C-101B-9397-08002B2CF9AE}" pid="18" name="Order">
    <vt:r8>4700</vt:r8>
  </property>
  <property fmtid="{D5CDD505-2E9C-101B-9397-08002B2CF9AE}" pid="19" name="vti_imgdate">
    <vt:lpwstr/>
  </property>
</Properties>
</file>